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7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9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0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1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2.xml" ContentType="application/vnd.openxmlformats-officedocument.theme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83675" r:id="rId2"/>
    <p:sldMasterId id="2147483841" r:id="rId3"/>
    <p:sldMasterId id="2147485833" r:id="rId4"/>
    <p:sldMasterId id="2147485850" r:id="rId5"/>
    <p:sldMasterId id="2147486630" r:id="rId6"/>
    <p:sldMasterId id="2147490207" r:id="rId7"/>
    <p:sldMasterId id="2147490219" r:id="rId8"/>
    <p:sldMasterId id="2147490235" r:id="rId9"/>
    <p:sldMasterId id="2147490247" r:id="rId10"/>
    <p:sldMasterId id="2147490260" r:id="rId11"/>
    <p:sldMasterId id="2147490277" r:id="rId12"/>
    <p:sldMasterId id="2147490285" r:id="rId13"/>
    <p:sldMasterId id="2147490289" r:id="rId14"/>
  </p:sldMasterIdLst>
  <p:notesMasterIdLst>
    <p:notesMasterId r:id="rId17"/>
  </p:notesMasterIdLst>
  <p:handoutMasterIdLst>
    <p:handoutMasterId r:id="rId18"/>
  </p:handoutMasterIdLst>
  <p:sldIdLst>
    <p:sldId id="769" r:id="rId15"/>
    <p:sldId id="770" r:id="rId16"/>
  </p:sldIdLst>
  <p:sldSz cx="9906000" cy="6858000" type="A4"/>
  <p:notesSz cx="6797675" cy="987266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Expert Sans Regular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Expert Sans Regular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Expert Sans Regular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Expert Sans Regular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Expert Sans Regular" pitchFamily="34" charset="0"/>
        <a:ea typeface="+mn-ea"/>
        <a:cs typeface="Arial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Expert Sans Regular" pitchFamily="34" charset="0"/>
        <a:ea typeface="+mn-ea"/>
        <a:cs typeface="Arial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Expert Sans Regular" pitchFamily="34" charset="0"/>
        <a:ea typeface="+mn-ea"/>
        <a:cs typeface="Arial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Expert Sans Regular" pitchFamily="34" charset="0"/>
        <a:ea typeface="+mn-ea"/>
        <a:cs typeface="Arial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Expert Sans Regular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319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F58025"/>
    <a:srgbClr val="679EB6"/>
    <a:srgbClr val="003A63"/>
    <a:srgbClr val="FF66FF"/>
    <a:srgbClr val="C0C0C0"/>
    <a:srgbClr val="5BCBF5"/>
    <a:srgbClr val="006F51"/>
    <a:srgbClr val="808284"/>
    <a:srgbClr val="66FF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118" autoAdjust="0"/>
    <p:restoredTop sz="83544" autoAdjust="0"/>
  </p:normalViewPr>
  <p:slideViewPr>
    <p:cSldViewPr snapToGrid="0">
      <p:cViewPr varScale="1">
        <p:scale>
          <a:sx n="62" d="100"/>
          <a:sy n="62" d="100"/>
        </p:scale>
        <p:origin x="1782" y="66"/>
      </p:cViewPr>
      <p:guideLst>
        <p:guide orient="horz" pos="4319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-2190" y="-108"/>
      </p:cViewPr>
      <p:guideLst>
        <p:guide orient="horz" pos="3110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10" Type="http://schemas.openxmlformats.org/officeDocument/2006/relationships/slideMaster" Target="slideMasters/slideMaster10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1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6" tIns="45783" rIns="91566" bIns="45783" numCol="1" anchor="t" anchorCtr="0" compatLnSpc="1">
            <a:prstTxWarp prst="textNoShape">
              <a:avLst/>
            </a:prstTxWarp>
          </a:bodyPr>
          <a:lstStyle>
            <a:lvl1pPr defTabSz="915988" eaLnBrk="0" hangingPunct="0">
              <a:spcBef>
                <a:spcPct val="0"/>
              </a:spcBef>
              <a:defRPr sz="1200">
                <a:latin typeface="Expert Sans Regular" pitchFamily="34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191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6" tIns="45783" rIns="91566" bIns="45783" numCol="1" anchor="t" anchorCtr="0" compatLnSpc="1">
            <a:prstTxWarp prst="textNoShape">
              <a:avLst/>
            </a:prstTxWarp>
          </a:bodyPr>
          <a:lstStyle>
            <a:lvl1pPr algn="r" defTabSz="915988" eaLnBrk="0" hangingPunct="0">
              <a:spcBef>
                <a:spcPct val="0"/>
              </a:spcBef>
              <a:defRPr sz="1200">
                <a:latin typeface="Expert Sans Regular" pitchFamily="34" charset="0"/>
                <a:cs typeface="Arial" charset="0"/>
              </a:defRPr>
            </a:lvl1pPr>
          </a:lstStyle>
          <a:p>
            <a:pPr>
              <a:defRPr/>
            </a:pPr>
            <a:fld id="{57B64253-E1C9-4DE0-A820-24668F3DA6E2}" type="datetimeFigureOut">
              <a:rPr lang="en-GB"/>
              <a:pPr>
                <a:defRPr/>
              </a:pPr>
              <a:t>05/09/2015</a:t>
            </a:fld>
            <a:endParaRPr lang="en-GB" dirty="0"/>
          </a:p>
        </p:txBody>
      </p:sp>
      <p:sp>
        <p:nvSpPr>
          <p:cNvPr id="2191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7363"/>
            <a:ext cx="2946400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6" tIns="45783" rIns="91566" bIns="45783" numCol="1" anchor="b" anchorCtr="0" compatLnSpc="1">
            <a:prstTxWarp prst="textNoShape">
              <a:avLst/>
            </a:prstTxWarp>
          </a:bodyPr>
          <a:lstStyle>
            <a:lvl1pPr defTabSz="915988" eaLnBrk="0" hangingPunct="0">
              <a:spcBef>
                <a:spcPct val="0"/>
              </a:spcBef>
              <a:defRPr sz="1200">
                <a:latin typeface="Expert Sans Regular" pitchFamily="34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191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377363"/>
            <a:ext cx="2946400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6" tIns="45783" rIns="91566" bIns="45783" numCol="1" anchor="b" anchorCtr="0" compatLnSpc="1">
            <a:prstTxWarp prst="textNoShape">
              <a:avLst/>
            </a:prstTxWarp>
          </a:bodyPr>
          <a:lstStyle>
            <a:lvl1pPr algn="r" defTabSz="915988" eaLnBrk="0" hangingPunct="0">
              <a:spcBef>
                <a:spcPct val="0"/>
              </a:spcBef>
              <a:defRPr sz="1200">
                <a:latin typeface="Expert Sans Regular" pitchFamily="34" charset="0"/>
                <a:cs typeface="Arial" charset="0"/>
              </a:defRPr>
            </a:lvl1pPr>
          </a:lstStyle>
          <a:p>
            <a:pPr>
              <a:defRPr/>
            </a:pPr>
            <a:fld id="{74C87804-D243-4023-B0D8-B098856CA47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47300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07" tIns="45506" rIns="91007" bIns="45506" numCol="1" anchor="t" anchorCtr="0" compatLnSpc="1">
            <a:prstTxWarp prst="textNoShape">
              <a:avLst/>
            </a:prstTxWarp>
          </a:bodyPr>
          <a:lstStyle>
            <a:lvl1pPr defTabSz="909638">
              <a:spcBef>
                <a:spcPct val="0"/>
              </a:spcBef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1"/>
            <a:ext cx="29464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07" tIns="45506" rIns="91007" bIns="45506" numCol="1" anchor="t" anchorCtr="0" compatLnSpc="1">
            <a:prstTxWarp prst="textNoShape">
              <a:avLst/>
            </a:prstTxWarp>
          </a:bodyPr>
          <a:lstStyle>
            <a:lvl1pPr algn="r" defTabSz="909638">
              <a:spcBef>
                <a:spcPct val="0"/>
              </a:spcBef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37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5488" y="739775"/>
            <a:ext cx="5349875" cy="37036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689475"/>
            <a:ext cx="5438775" cy="444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07" tIns="45506" rIns="91007" bIns="455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8951"/>
            <a:ext cx="29464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07" tIns="45506" rIns="91007" bIns="45506" numCol="1" anchor="b" anchorCtr="0" compatLnSpc="1">
            <a:prstTxWarp prst="textNoShape">
              <a:avLst/>
            </a:prstTxWarp>
          </a:bodyPr>
          <a:lstStyle>
            <a:lvl1pPr defTabSz="909638">
              <a:spcBef>
                <a:spcPct val="0"/>
              </a:spcBef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78951"/>
            <a:ext cx="29464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07" tIns="45506" rIns="91007" bIns="45506" numCol="1" anchor="b" anchorCtr="0" compatLnSpc="1">
            <a:prstTxWarp prst="textNoShape">
              <a:avLst/>
            </a:prstTxWarp>
          </a:bodyPr>
          <a:lstStyle>
            <a:lvl1pPr algn="r" defTabSz="909638">
              <a:spcBef>
                <a:spcPct val="0"/>
              </a:spcBef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3092AD0-6377-4B38-BFB9-22535758686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19977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3092AD0-6377-4B38-BFB9-225357586863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78095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White Title B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3279775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75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4353" y="2768603"/>
            <a:ext cx="7772400" cy="1470025"/>
          </a:xfrm>
        </p:spPr>
        <p:txBody>
          <a:bodyPr/>
          <a:lstStyle>
            <a:lvl1pPr>
              <a:defRPr sz="2400">
                <a:latin typeface="Expert Humanist Black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475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3880" y="5153035"/>
            <a:ext cx="6400800" cy="1533525"/>
          </a:xfr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pic>
        <p:nvPicPr>
          <p:cNvPr id="5" name="Picture 2" descr="White Title B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White Title B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84" b="-14384"/>
          <a:stretch/>
        </p:blipFill>
        <p:spPr bwMode="auto">
          <a:xfrm>
            <a:off x="0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1511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1474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1549" y="1104439"/>
            <a:ext cx="4079346" cy="2154436"/>
          </a:xfrm>
        </p:spPr>
        <p:txBody>
          <a:bodyPr/>
          <a:lstStyle>
            <a:lvl1pPr>
              <a:buFont typeface="Arial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234950" indent="0">
              <a:buNone/>
              <a:defRPr sz="2000"/>
            </a:lvl3pPr>
            <a:lvl4pPr marL="568325" indent="0">
              <a:buNone/>
              <a:defRPr sz="2000"/>
            </a:lvl4pPr>
            <a:lvl5pPr marL="858838" indent="0">
              <a:buNone/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69701" y="1104439"/>
            <a:ext cx="4079345" cy="2154436"/>
          </a:xfrm>
        </p:spPr>
        <p:txBody>
          <a:bodyPr/>
          <a:lstStyle>
            <a:lvl1pPr>
              <a:buFont typeface="Arial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234950" indent="0">
              <a:buNone/>
              <a:defRPr sz="2000"/>
            </a:lvl3pPr>
            <a:lvl4pPr marL="568325" indent="0">
              <a:buNone/>
              <a:defRPr sz="2000"/>
            </a:lvl4pPr>
            <a:lvl5pPr marL="858838" indent="0">
              <a:buNone/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27468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170432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2" y="384183"/>
            <a:ext cx="8734425" cy="4603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741915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2" y="384183"/>
            <a:ext cx="8734425" cy="4603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63593" y="1095382"/>
            <a:ext cx="8670925" cy="307777"/>
          </a:xfrm>
        </p:spPr>
        <p:txBody>
          <a:bodyPr/>
          <a:lstStyle/>
          <a:p>
            <a:pPr lvl="0"/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1423037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755652" y="384175"/>
            <a:ext cx="8734425" cy="21544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8787247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2" y="384183"/>
            <a:ext cx="8734425" cy="4603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63593" y="1095382"/>
            <a:ext cx="8670925" cy="307777"/>
          </a:xfrm>
        </p:spPr>
        <p:txBody>
          <a:bodyPr/>
          <a:lstStyle/>
          <a:p>
            <a:pPr lvl="0"/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97135715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White Title B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3279775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75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4353" y="2768603"/>
            <a:ext cx="7772400" cy="1470025"/>
          </a:xfrm>
        </p:spPr>
        <p:txBody>
          <a:bodyPr/>
          <a:lstStyle>
            <a:lvl1pPr>
              <a:defRPr sz="2400">
                <a:latin typeface="Expert Humanist Black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475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3880" y="5153035"/>
            <a:ext cx="6400800" cy="1533525"/>
          </a:xfr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4618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36277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4" y="440691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4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0771780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3" y="1974850"/>
            <a:ext cx="4143375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6775" y="1974850"/>
            <a:ext cx="4143375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285476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15125" y="1160469"/>
            <a:ext cx="2114550" cy="52609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1475" y="1160469"/>
            <a:ext cx="6191250" cy="52609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28755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0358544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5970887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5731495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3098585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93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93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93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1069067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6289247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15125" y="1160469"/>
            <a:ext cx="2114550" cy="52609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1475" y="1160469"/>
            <a:ext cx="6191250" cy="52609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0936326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810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2840207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3472536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7285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52876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5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64395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2756" y="1974850"/>
            <a:ext cx="4488656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6509" y="1974850"/>
            <a:ext cx="4488656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613885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9056948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0946" y="116632"/>
            <a:ext cx="6484689" cy="360040"/>
          </a:xfrm>
        </p:spPr>
        <p:txBody>
          <a:bodyPr/>
          <a:lstStyle>
            <a:lvl1pPr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2394533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 flipV="1">
            <a:off x="194338" y="649288"/>
            <a:ext cx="9276556" cy="0"/>
          </a:xfrm>
          <a:prstGeom prst="line">
            <a:avLst/>
          </a:prstGeom>
          <a:ln>
            <a:solidFill>
              <a:srgbClr val="00AEE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09579" y="1010024"/>
            <a:ext cx="4276725" cy="41243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0192370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435"/>
            <a:ext cx="5537729" cy="5853113"/>
          </a:xfrm>
        </p:spPr>
        <p:txBody>
          <a:bodyPr/>
          <a:lstStyle>
            <a:lvl1pPr>
              <a:defRPr sz="3200" b="0">
                <a:solidFill>
                  <a:schemeClr val="accent2"/>
                </a:solidFill>
              </a:defRPr>
            </a:lvl1pPr>
            <a:lvl2pPr>
              <a:defRPr sz="2800" b="0">
                <a:solidFill>
                  <a:schemeClr val="accent2"/>
                </a:solidFill>
              </a:defRPr>
            </a:lvl2pPr>
            <a:lvl3pPr>
              <a:defRPr sz="2400" b="0">
                <a:solidFill>
                  <a:schemeClr val="accent2"/>
                </a:solidFill>
              </a:defRPr>
            </a:lvl3pPr>
            <a:lvl4pPr>
              <a:defRPr sz="2000" b="0">
                <a:solidFill>
                  <a:schemeClr val="accent2"/>
                </a:solidFill>
              </a:defRPr>
            </a:lvl4pPr>
            <a:lvl5pPr>
              <a:defRPr sz="2000" b="0">
                <a:solidFill>
                  <a:schemeClr val="accent2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3099944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3765920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1911719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74725" y="1160469"/>
            <a:ext cx="2290763" cy="52609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2431" y="1160469"/>
            <a:ext cx="6707188" cy="52609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5272900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Bar_06_COL_POS [Converted]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97838" y="2654300"/>
            <a:ext cx="1311275" cy="223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5"/>
          <p:cNvSpPr/>
          <p:nvPr userDrawn="1"/>
        </p:nvSpPr>
        <p:spPr bwMode="auto">
          <a:xfrm>
            <a:off x="2003425" y="2487613"/>
            <a:ext cx="5921375" cy="55403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US" sz="3600" b="0" dirty="0">
              <a:solidFill>
                <a:srgbClr val="00AEEF"/>
              </a:solidFill>
              <a:latin typeface="Arial" pitchFamily="34" charset="0"/>
              <a:cs typeface="+mn-cs"/>
            </a:endParaRPr>
          </a:p>
        </p:txBody>
      </p:sp>
      <p:pic>
        <p:nvPicPr>
          <p:cNvPr id="6" name="Picture 9" descr="Picture 29.png"/>
          <p:cNvPicPr>
            <a:picLocks/>
          </p:cNvPicPr>
          <p:nvPr userDrawn="1"/>
        </p:nvPicPr>
        <p:blipFill>
          <a:blip r:embed="rId3" cstate="print"/>
          <a:srcRect l="2068" b="7236"/>
          <a:stretch>
            <a:fillRect/>
          </a:stretch>
        </p:blipFill>
        <p:spPr bwMode="auto">
          <a:xfrm>
            <a:off x="2020888" y="1031875"/>
            <a:ext cx="5873750" cy="3465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11"/>
          <p:cNvCxnSpPr>
            <a:cxnSpLocks noChangeShapeType="1"/>
          </p:cNvCxnSpPr>
          <p:nvPr userDrawn="1"/>
        </p:nvCxnSpPr>
        <p:spPr bwMode="auto">
          <a:xfrm rot="16200000" flipH="1">
            <a:off x="242094" y="2764632"/>
            <a:ext cx="3557587" cy="0"/>
          </a:xfrm>
          <a:prstGeom prst="line">
            <a:avLst/>
          </a:prstGeom>
          <a:noFill/>
          <a:ln w="63500" cap="rnd" algn="ctr">
            <a:solidFill>
              <a:schemeClr val="bg2"/>
            </a:solidFill>
            <a:round/>
            <a:headEnd/>
            <a:tailEnd/>
          </a:ln>
        </p:spPr>
      </p:cxnSp>
      <p:cxnSp>
        <p:nvCxnSpPr>
          <p:cNvPr id="8" name="Straight Connector 14"/>
          <p:cNvCxnSpPr>
            <a:cxnSpLocks noChangeShapeType="1"/>
          </p:cNvCxnSpPr>
          <p:nvPr userDrawn="1"/>
        </p:nvCxnSpPr>
        <p:spPr bwMode="auto">
          <a:xfrm rot="16200000" flipH="1">
            <a:off x="6141244" y="2764632"/>
            <a:ext cx="3557587" cy="0"/>
          </a:xfrm>
          <a:prstGeom prst="line">
            <a:avLst/>
          </a:prstGeom>
          <a:noFill/>
          <a:ln w="63500" cap="rnd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8094663" y="438150"/>
            <a:ext cx="1373187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000" b="0" dirty="0">
                <a:solidFill>
                  <a:srgbClr val="00AEEF"/>
                </a:solidFill>
                <a:latin typeface="Expert Sans Regular"/>
                <a:cs typeface="+mn-cs"/>
              </a:rPr>
              <a:t>Signposting</a:t>
            </a:r>
          </a:p>
        </p:txBody>
      </p:sp>
      <p:sp>
        <p:nvSpPr>
          <p:cNvPr id="11274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206785" y="4729391"/>
            <a:ext cx="5766253" cy="492443"/>
          </a:xfrm>
        </p:spPr>
        <p:txBody>
          <a:bodyPr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288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210397" y="5270117"/>
            <a:ext cx="5838692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95545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Bar_06_COL_POS [Converted]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97838" y="3008313"/>
            <a:ext cx="1311275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14"/>
          <p:cNvGrpSpPr>
            <a:grpSpLocks/>
          </p:cNvGrpSpPr>
          <p:nvPr userDrawn="1"/>
        </p:nvGrpSpPr>
        <p:grpSpPr bwMode="auto">
          <a:xfrm>
            <a:off x="784225" y="2132013"/>
            <a:ext cx="7140575" cy="1965325"/>
            <a:chOff x="1865096" y="985741"/>
            <a:chExt cx="5446206" cy="3557683"/>
          </a:xfrm>
        </p:grpSpPr>
        <p:cxnSp>
          <p:nvCxnSpPr>
            <p:cNvPr id="6" name="Straight Connector 22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</p:spPr>
        </p:cxnSp>
        <p:cxnSp>
          <p:nvCxnSpPr>
            <p:cNvPr id="7" name="Straight Connector 23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</p:spPr>
        </p:cxnSp>
      </p:grp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094663" y="438150"/>
            <a:ext cx="1373187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000" b="0" dirty="0">
                <a:solidFill>
                  <a:srgbClr val="00AEEF"/>
                </a:solidFill>
                <a:latin typeface="Expert Sans Regular"/>
                <a:cs typeface="+mn-cs"/>
              </a:rPr>
              <a:t>Signposting</a:t>
            </a:r>
          </a:p>
        </p:txBody>
      </p: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966181" y="2701044"/>
            <a:ext cx="6604343" cy="492443"/>
          </a:xfr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66181" y="3273494"/>
            <a:ext cx="659579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9295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22984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Bar_06_COL_POS [Converted]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97838" y="3008313"/>
            <a:ext cx="1311275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14"/>
          <p:cNvGrpSpPr>
            <a:grpSpLocks/>
          </p:cNvGrpSpPr>
          <p:nvPr userDrawn="1"/>
        </p:nvGrpSpPr>
        <p:grpSpPr bwMode="auto">
          <a:xfrm>
            <a:off x="2011363" y="2132013"/>
            <a:ext cx="5913437" cy="1965325"/>
            <a:chOff x="1865096" y="985741"/>
            <a:chExt cx="5446206" cy="3557683"/>
          </a:xfrm>
        </p:grpSpPr>
        <p:cxnSp>
          <p:nvCxnSpPr>
            <p:cNvPr id="6" name="Straight Connector 22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</p:spPr>
        </p:cxnSp>
        <p:cxnSp>
          <p:nvCxnSpPr>
            <p:cNvPr id="7" name="Straight Connector 23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</p:spPr>
        </p:cxnSp>
      </p:grp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094663" y="438150"/>
            <a:ext cx="1373187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000" b="0" dirty="0">
                <a:solidFill>
                  <a:srgbClr val="00AEEF"/>
                </a:solidFill>
                <a:latin typeface="Expert Sans Regular"/>
                <a:cs typeface="+mn-cs"/>
              </a:rPr>
              <a:t>Signposting</a:t>
            </a:r>
          </a:p>
        </p:txBody>
      </p: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203916" y="2708187"/>
            <a:ext cx="5343392" cy="492443"/>
          </a:xfr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210023" y="3278940"/>
            <a:ext cx="533647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904982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9"/>
          <p:cNvSpPr txBox="1">
            <a:spLocks noChangeArrowheads="1"/>
          </p:cNvSpPr>
          <p:nvPr userDrawn="1"/>
        </p:nvSpPr>
        <p:spPr bwMode="auto">
          <a:xfrm>
            <a:off x="8094663" y="438150"/>
            <a:ext cx="1373187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000" b="0" dirty="0">
                <a:solidFill>
                  <a:srgbClr val="00AEEF"/>
                </a:solidFill>
                <a:latin typeface="Expert Sans Regular"/>
                <a:cs typeface="+mn-cs"/>
              </a:rPr>
              <a:t>Signposting</a:t>
            </a:r>
          </a:p>
        </p:txBody>
      </p:sp>
      <p:pic>
        <p:nvPicPr>
          <p:cNvPr id="5" name="Picture 7" descr="Bar_06_COL_POS [Converted]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07363" y="6410325"/>
            <a:ext cx="1298575" cy="220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751551" y="2730719"/>
            <a:ext cx="6818973" cy="461665"/>
          </a:xfrm>
        </p:spPr>
        <p:txBody>
          <a:bodyPr anchor="b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1828" y="3273311"/>
            <a:ext cx="6810149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360339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751551" y="2730719"/>
            <a:ext cx="6818973" cy="461665"/>
          </a:xfrm>
        </p:spPr>
        <p:txBody>
          <a:bodyPr anchor="b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1828" y="3281722"/>
            <a:ext cx="6810149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dirty="0">
                <a:solidFill>
                  <a:srgbClr val="000000"/>
                </a:solidFill>
              </a:rPr>
              <a:t>‹#›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89245998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30"/>
            <a:ext cx="8734821" cy="461665"/>
          </a:xfrm>
        </p:spPr>
        <p:txBody>
          <a:bodyPr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89" y="1096009"/>
            <a:ext cx="8671190" cy="2154436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2000">
                <a:latin typeface="+mn-lt"/>
              </a:defRPr>
            </a:lvl2pPr>
            <a:lvl3pPr marL="571500" indent="-342900">
              <a:defRPr sz="2000">
                <a:latin typeface="+mn-lt"/>
              </a:defRPr>
            </a:lvl3pPr>
            <a:lvl4pPr marL="862013" indent="-290513">
              <a:defRPr sz="2000">
                <a:latin typeface="+mn-lt"/>
              </a:defRPr>
            </a:lvl4pPr>
            <a:lvl5pPr marL="1204913" indent="-342900">
              <a:defRPr sz="2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E032F9-860D-4882-B4B6-569C895F3CC9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416920078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umbered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30"/>
            <a:ext cx="8734821" cy="461665"/>
          </a:xfrm>
        </p:spPr>
        <p:txBody>
          <a:bodyPr anchor="t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89" y="1096009"/>
            <a:ext cx="8671190" cy="1938992"/>
          </a:xfrm>
        </p:spPr>
        <p:txBody>
          <a:bodyPr/>
          <a:lstStyle>
            <a:lvl1pPr marL="341313" indent="-341313">
              <a:lnSpc>
                <a:spcPct val="100000"/>
              </a:lnSpc>
              <a:spcBef>
                <a:spcPts val="900"/>
              </a:spcBef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+mn-lt"/>
              </a:defRPr>
            </a:lvl1pPr>
            <a:lvl2pPr marL="682625" indent="-341313">
              <a:lnSpc>
                <a:spcPct val="100000"/>
              </a:lnSpc>
              <a:spcBef>
                <a:spcPts val="900"/>
              </a:spcBef>
              <a:buFont typeface="+mj-lt"/>
              <a:buAutoNum type="alphaLcPeriod"/>
              <a:defRPr sz="2000">
                <a:latin typeface="+mn-lt"/>
              </a:defRPr>
            </a:lvl2pPr>
            <a:lvl3pPr marL="1025525" indent="-333375">
              <a:lnSpc>
                <a:spcPct val="100000"/>
              </a:lnSpc>
              <a:spcBef>
                <a:spcPts val="900"/>
              </a:spcBef>
              <a:defRPr sz="2000">
                <a:latin typeface="+mn-lt"/>
              </a:defRPr>
            </a:lvl3pPr>
            <a:lvl4pPr marL="1146175" indent="-231775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4pPr>
            <a:lvl5pPr marL="1427163" indent="-280988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575B51-74F0-48FD-91F1-9967CF225F89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88501336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5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633413" indent="-228600">
              <a:lnSpc>
                <a:spcPct val="100000"/>
              </a:lnSpc>
              <a:spcBef>
                <a:spcPts val="900"/>
              </a:spcBef>
              <a:defRPr sz="1400"/>
            </a:lvl4pPr>
            <a:lvl5pPr marL="862013" indent="-228600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35" y="1146178"/>
            <a:ext cx="4234127" cy="47926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5DD33C-F539-4F4D-B25F-4FF52D8F43C6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159213165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tex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5"/>
            <a:ext cx="4253045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813" indent="-228600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77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B54C2-BBED-4D69-B8F1-D9786683EC1B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88463497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2 Right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5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571500" indent="-166688">
              <a:lnSpc>
                <a:spcPct val="100000"/>
              </a:lnSpc>
              <a:spcBef>
                <a:spcPts val="900"/>
              </a:spcBef>
              <a:defRPr sz="1400"/>
            </a:lvl4pPr>
            <a:lvl5pPr marL="747713" indent="-176213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35" y="1146177"/>
            <a:ext cx="4234127" cy="229036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48" y="3658263"/>
            <a:ext cx="4234127" cy="229036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A99F9B-AE44-4121-BA87-15998916B0F7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370039996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 pictures_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3939739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62134" y="1146178"/>
            <a:ext cx="4234127" cy="25817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48" y="1146178"/>
            <a:ext cx="4234127" cy="25817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/>
          </p:nvPr>
        </p:nvSpPr>
        <p:spPr>
          <a:xfrm>
            <a:off x="5170846" y="3939739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763098-7E04-4965-8EDB-B79F3C14B342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256199825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48" y="452864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59962" y="452864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751248" y="3266401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159962" y="3266401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739509" y="295379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180880" y="295379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757290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180880" y="5757290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Footer Placeholder 10"/>
          <p:cNvSpPr>
            <a:spLocks noGrp="1"/>
          </p:cNvSpPr>
          <p:nvPr>
            <p:ph type="ftr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7136AA-049E-4A95-B715-D65B0A9E72A9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34445827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1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8084976"/>
      </p:ext>
    </p:extLst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48" y="452863"/>
            <a:ext cx="8643125" cy="5264649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91805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70A13D-9F95-4EA5-AF6C-E73FA2355AF1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336483713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784224" y="1081280"/>
            <a:ext cx="3767328" cy="21544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4773168" y="1081280"/>
            <a:ext cx="3767328" cy="21544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BDF1D0-0152-4D1C-B780-CFC39C53494D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302703945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8420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0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4F1B13-0E02-4B64-9E15-F16FB22995B2}" type="slidenum">
              <a:rPr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227871539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Bar_06_COL_POS [Converted]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840" y="3008313"/>
            <a:ext cx="1311275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4"/>
          <p:cNvGrpSpPr>
            <a:grpSpLocks/>
          </p:cNvGrpSpPr>
          <p:nvPr userDrawn="1"/>
        </p:nvGrpSpPr>
        <p:grpSpPr bwMode="auto">
          <a:xfrm>
            <a:off x="2011365" y="2132017"/>
            <a:ext cx="5913437" cy="1965325"/>
            <a:chOff x="1865096" y="985741"/>
            <a:chExt cx="5446206" cy="3557683"/>
          </a:xfrm>
        </p:grpSpPr>
        <p:cxnSp>
          <p:nvCxnSpPr>
            <p:cNvPr id="6" name="Straight Connector 22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23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Footer Placeholder 10"/>
          <p:cNvSpPr txBox="1">
            <a:spLocks/>
          </p:cNvSpPr>
          <p:nvPr userDrawn="1"/>
        </p:nvSpPr>
        <p:spPr bwMode="auto">
          <a:xfrm>
            <a:off x="741363" y="6316663"/>
            <a:ext cx="3136900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>
            <a:lvl1pP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E03A26A0-AE81-421F-9F26-9B084BCC275D}" type="slidenum">
              <a:rPr lang="en-US" sz="900" b="0" smtClean="0">
                <a:solidFill>
                  <a:srgbClr val="000000"/>
                </a:solidFill>
              </a:rPr>
              <a:pPr>
                <a:spcBef>
                  <a:spcPct val="50000"/>
                </a:spcBef>
                <a:defRPr/>
              </a:pPr>
              <a:t>‹#›</a:t>
            </a:fld>
            <a:r>
              <a:rPr lang="en-US" sz="900" b="0" dirty="0" smtClean="0">
                <a:solidFill>
                  <a:srgbClr val="000000"/>
                </a:solidFill>
              </a:rPr>
              <a:t>   |   Cash Rollout |  19 October 2012</a:t>
            </a:r>
          </a:p>
        </p:txBody>
      </p:sp>
      <p:sp>
        <p:nvSpPr>
          <p:cNvPr id="9" name="TextBox 9"/>
          <p:cNvSpPr txBox="1">
            <a:spLocks noChangeArrowheads="1"/>
          </p:cNvSpPr>
          <p:nvPr userDrawn="1"/>
        </p:nvSpPr>
        <p:spPr bwMode="auto">
          <a:xfrm>
            <a:off x="741365" y="6434142"/>
            <a:ext cx="482758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US" sz="900" b="0" dirty="0" smtClean="0">
                <a:solidFill>
                  <a:srgbClr val="000000"/>
                </a:solidFill>
              </a:rPr>
              <a:t>Internal use only</a:t>
            </a:r>
          </a:p>
        </p:txBody>
      </p: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203916" y="2708193"/>
            <a:ext cx="5343392" cy="492443"/>
          </a:xfr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210026" y="3278942"/>
            <a:ext cx="533647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364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751553" y="2730723"/>
            <a:ext cx="6818973" cy="461665"/>
          </a:xfrm>
        </p:spPr>
        <p:txBody>
          <a:bodyPr anchor="b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1830" y="3281726"/>
            <a:ext cx="6810149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61784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34"/>
            <a:ext cx="8734821" cy="461665"/>
          </a:xfrm>
        </p:spPr>
        <p:txBody>
          <a:bodyPr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91" y="1096009"/>
            <a:ext cx="8671190" cy="2154436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2000">
                <a:latin typeface="+mn-lt"/>
              </a:defRPr>
            </a:lvl2pPr>
            <a:lvl3pPr marL="571500" indent="-342900">
              <a:defRPr sz="2000">
                <a:latin typeface="+mn-lt"/>
              </a:defRPr>
            </a:lvl3pPr>
            <a:lvl4pPr marL="862013" indent="-290513">
              <a:defRPr sz="2000">
                <a:latin typeface="+mn-lt"/>
              </a:defRPr>
            </a:lvl4pPr>
            <a:lvl5pPr marL="1204913" indent="-342900">
              <a:defRPr sz="2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731896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871335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682" name="Picture 7" descr="Bar_06_COL_POS [Converted]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6" y="3003550"/>
            <a:ext cx="1317625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68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95513" y="2708914"/>
            <a:ext cx="5716588" cy="492443"/>
          </a:xfrm>
        </p:spPr>
        <p:txBody>
          <a:bodyPr/>
          <a:lstStyle>
            <a:lvl1pPr>
              <a:defRPr sz="3200" b="1" smtClean="0"/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7168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95515" y="3179763"/>
            <a:ext cx="5705475" cy="304800"/>
          </a:xfrm>
        </p:spPr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grpSp>
        <p:nvGrpSpPr>
          <p:cNvPr id="71690" name="Group 10"/>
          <p:cNvGrpSpPr>
            <a:grpSpLocks/>
          </p:cNvGrpSpPr>
          <p:nvPr/>
        </p:nvGrpSpPr>
        <p:grpSpPr bwMode="auto">
          <a:xfrm>
            <a:off x="2016127" y="2130429"/>
            <a:ext cx="5899150" cy="1984375"/>
            <a:chOff x="1273" y="621"/>
            <a:chExt cx="3716" cy="2241"/>
          </a:xfrm>
        </p:grpSpPr>
        <p:cxnSp>
          <p:nvCxnSpPr>
            <p:cNvPr id="71688" name="Straight Connector 11"/>
            <p:cNvCxnSpPr>
              <a:cxnSpLocks noChangeShapeType="1"/>
            </p:cNvCxnSpPr>
            <p:nvPr userDrawn="1"/>
          </p:nvCxnSpPr>
          <p:spPr bwMode="auto">
            <a:xfrm rot="16200000" flipH="1">
              <a:off x="152" y="1742"/>
              <a:ext cx="2241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689" name="Straight Connector 12"/>
            <p:cNvCxnSpPr>
              <a:cxnSpLocks noChangeShapeType="1"/>
            </p:cNvCxnSpPr>
            <p:nvPr userDrawn="1"/>
          </p:nvCxnSpPr>
          <p:spPr bwMode="auto">
            <a:xfrm rot="16200000" flipH="1">
              <a:off x="3868" y="1742"/>
              <a:ext cx="2241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944039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9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9" y="160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" hidden="1"/>
          <p:cNvGraphicFramePr>
            <a:graphicFrameLocks noChangeAspect="1"/>
          </p:cNvGraphicFramePr>
          <p:nvPr userDrawn="1"/>
        </p:nvGraphicFramePr>
        <p:xfrm>
          <a:off x="1609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9" y="160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7" descr="Bar_06_COL_POS [Converted]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83" y="6411913"/>
            <a:ext cx="1298575" cy="22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Line 32"/>
          <p:cNvSpPr>
            <a:spLocks noChangeShapeType="1"/>
          </p:cNvSpPr>
          <p:nvPr/>
        </p:nvSpPr>
        <p:spPr bwMode="auto">
          <a:xfrm>
            <a:off x="735035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3600" b="0">
              <a:solidFill>
                <a:srgbClr val="00AEEF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10" name="Picture 6" descr="Bar_06_COL_POS [Converted]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83" y="6411913"/>
            <a:ext cx="1298575" cy="22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Line 32"/>
          <p:cNvSpPr>
            <a:spLocks noChangeShapeType="1"/>
          </p:cNvSpPr>
          <p:nvPr userDrawn="1"/>
        </p:nvSpPr>
        <p:spPr bwMode="auto">
          <a:xfrm>
            <a:off x="735035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3600" b="0">
              <a:solidFill>
                <a:srgbClr val="00AEEF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2" name="Footer Placeholder 10"/>
          <p:cNvSpPr txBox="1">
            <a:spLocks/>
          </p:cNvSpPr>
          <p:nvPr userDrawn="1"/>
        </p:nvSpPr>
        <p:spPr bwMode="auto">
          <a:xfrm>
            <a:off x="741369" y="6286154"/>
            <a:ext cx="370681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514AD3F3-BF92-474F-A7B3-FB14B36063ED}" type="slidenum">
              <a:rPr lang="en-GB" sz="900" b="0">
                <a:solidFill>
                  <a:srgbClr val="000000"/>
                </a:solidFill>
                <a:latin typeface="Expert Sans Regular" pitchFamily="34" charset="0"/>
                <a:cs typeface="+mn-cs"/>
              </a:rPr>
              <a:pPr eaLnBrk="1" hangingPunct="1">
                <a:spcBef>
                  <a:spcPct val="50000"/>
                </a:spcBef>
              </a:pPr>
              <a:t>‹#›</a:t>
            </a:fld>
            <a:r>
              <a:rPr lang="en-GB" sz="900" b="0" dirty="0">
                <a:solidFill>
                  <a:srgbClr val="000000"/>
                </a:solidFill>
                <a:latin typeface="Expert Sans Regular" pitchFamily="34" charset="0"/>
                <a:cs typeface="+mn-cs"/>
              </a:rPr>
              <a:t> | </a:t>
            </a:r>
            <a:r>
              <a:rPr lang="en-GB" sz="900" b="0" dirty="0" smtClean="0">
                <a:solidFill>
                  <a:srgbClr val="000000"/>
                </a:solidFill>
                <a:latin typeface="Expert Sans Regular" pitchFamily="34" charset="0"/>
                <a:cs typeface="+mn-cs"/>
              </a:rPr>
              <a:t>PCB Tooling Automation | January 2015</a:t>
            </a:r>
            <a:endParaRPr lang="en-GB" sz="900" b="0" dirty="0">
              <a:solidFill>
                <a:srgbClr val="000000"/>
              </a:solidFill>
              <a:latin typeface="Expert Sans Regular" pitchFamily="34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99" y="188640"/>
            <a:ext cx="8712000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4999" y="834652"/>
            <a:ext cx="8712000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sz="1400" b="1">
                <a:latin typeface="+mn-lt"/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latin typeface="+mn-lt"/>
              </a:defRPr>
            </a:lvl2pPr>
            <a:lvl3pPr marL="571294" indent="-342776">
              <a:spcBef>
                <a:spcPts val="300"/>
              </a:spcBef>
              <a:spcAft>
                <a:spcPts val="300"/>
              </a:spcAft>
              <a:defRPr sz="1400">
                <a:latin typeface="+mn-lt"/>
              </a:defRPr>
            </a:lvl3pPr>
            <a:lvl4pPr marL="861703" indent="-290409">
              <a:spcBef>
                <a:spcPts val="300"/>
              </a:spcBef>
              <a:spcAft>
                <a:spcPts val="300"/>
              </a:spcAft>
              <a:defRPr sz="1400">
                <a:latin typeface="+mn-lt"/>
              </a:defRPr>
            </a:lvl4pPr>
            <a:lvl5pPr marL="1204479" indent="-342776">
              <a:spcBef>
                <a:spcPts val="300"/>
              </a:spcBef>
              <a:spcAft>
                <a:spcPts val="3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754999" y="1268760"/>
            <a:ext cx="8712000" cy="2138974"/>
          </a:xfrm>
          <a:prstGeom prst="rect">
            <a:avLst/>
          </a:prstGeom>
        </p:spPr>
        <p:txBody>
          <a:bodyPr/>
          <a:lstStyle>
            <a:lvl1pPr>
              <a:spcBef>
                <a:spcPts val="300"/>
              </a:spcBef>
              <a:spcAft>
                <a:spcPts val="300"/>
              </a:spcAft>
              <a:defRPr sz="1400">
                <a:latin typeface="+mn-lt"/>
              </a:defRPr>
            </a:lvl1pPr>
            <a:lvl2pPr marL="180975" indent="-180975">
              <a:spcBef>
                <a:spcPts val="300"/>
              </a:spcBef>
              <a:spcAft>
                <a:spcPts val="300"/>
              </a:spcAft>
              <a:defRPr sz="1400">
                <a:latin typeface="+mn-lt"/>
              </a:defRPr>
            </a:lvl2pPr>
            <a:lvl3pPr marL="446088" indent="-217488">
              <a:spcBef>
                <a:spcPts val="300"/>
              </a:spcBef>
              <a:spcAft>
                <a:spcPts val="300"/>
              </a:spcAft>
              <a:defRPr sz="1400">
                <a:latin typeface="+mn-lt"/>
              </a:defRPr>
            </a:lvl3pPr>
            <a:lvl4pPr marL="627063" indent="-180975">
              <a:spcBef>
                <a:spcPts val="300"/>
              </a:spcBef>
              <a:spcAft>
                <a:spcPts val="300"/>
              </a:spcAft>
              <a:defRPr sz="1400">
                <a:latin typeface="+mn-lt"/>
              </a:defRPr>
            </a:lvl4pPr>
            <a:lvl5pPr marL="808038" indent="-180975">
              <a:spcBef>
                <a:spcPts val="300"/>
              </a:spcBef>
              <a:spcAft>
                <a:spcPts val="3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211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2752" y="1974850"/>
            <a:ext cx="4494213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59363" y="1974850"/>
            <a:ext cx="4495800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3578365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9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9" y="160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2" hidden="1"/>
          <p:cNvGraphicFramePr>
            <a:graphicFrameLocks noChangeAspect="1"/>
          </p:cNvGraphicFramePr>
          <p:nvPr userDrawn="1"/>
        </p:nvGraphicFramePr>
        <p:xfrm>
          <a:off x="1609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9" y="160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Bar_06_COL_POS [Converted]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83" y="6411913"/>
            <a:ext cx="1298575" cy="22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ine 32"/>
          <p:cNvSpPr>
            <a:spLocks noChangeShapeType="1"/>
          </p:cNvSpPr>
          <p:nvPr/>
        </p:nvSpPr>
        <p:spPr bwMode="auto">
          <a:xfrm>
            <a:off x="735035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3600" b="0">
              <a:solidFill>
                <a:srgbClr val="00AEEF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graphicFrame>
        <p:nvGraphicFramePr>
          <p:cNvPr id="8" name="Object 6" hidden="1"/>
          <p:cNvGraphicFramePr>
            <a:graphicFrameLocks noChangeAspect="1"/>
          </p:cNvGraphicFramePr>
          <p:nvPr userDrawn="1"/>
        </p:nvGraphicFramePr>
        <p:xfrm>
          <a:off x="1609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9" y="160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54999" y="383793"/>
            <a:ext cx="8734821" cy="461665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Footer Placeholder 10"/>
          <p:cNvSpPr txBox="1">
            <a:spLocks/>
          </p:cNvSpPr>
          <p:nvPr userDrawn="1"/>
        </p:nvSpPr>
        <p:spPr bwMode="auto">
          <a:xfrm>
            <a:off x="741369" y="6286154"/>
            <a:ext cx="370681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514AD3F3-BF92-474F-A7B3-FB14B36063ED}" type="slidenum">
              <a:rPr lang="en-GB" sz="900" b="0" smtClean="0">
                <a:solidFill>
                  <a:srgbClr val="000000"/>
                </a:solidFill>
                <a:latin typeface="Expert Sans Regular" pitchFamily="34" charset="0"/>
                <a:cs typeface="+mn-cs"/>
              </a:rPr>
              <a:pPr eaLnBrk="1" hangingPunct="1">
                <a:spcBef>
                  <a:spcPct val="50000"/>
                </a:spcBef>
              </a:pPr>
              <a:t>‹#›</a:t>
            </a:fld>
            <a:r>
              <a:rPr lang="en-GB" sz="900" b="0" dirty="0" smtClean="0">
                <a:solidFill>
                  <a:srgbClr val="000000"/>
                </a:solidFill>
                <a:latin typeface="Expert Sans Regular" pitchFamily="34" charset="0"/>
                <a:cs typeface="+mn-cs"/>
              </a:rPr>
              <a:t> | PCB Tooling Automation | January 2015</a:t>
            </a:r>
            <a:endParaRPr lang="en-GB" sz="900" b="0" dirty="0">
              <a:solidFill>
                <a:srgbClr val="000000"/>
              </a:solidFill>
              <a:latin typeface="Expert Sans Regular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1036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09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9" y="160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9" descr="Bar_06_COL_POS [Converted]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841" y="3008313"/>
            <a:ext cx="1311275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4"/>
          <p:cNvGrpSpPr>
            <a:grpSpLocks/>
          </p:cNvGrpSpPr>
          <p:nvPr/>
        </p:nvGrpSpPr>
        <p:grpSpPr bwMode="auto">
          <a:xfrm>
            <a:off x="1125538" y="2133640"/>
            <a:ext cx="6759575" cy="1965325"/>
            <a:chOff x="1865096" y="985741"/>
            <a:chExt cx="5446206" cy="3557683"/>
          </a:xfrm>
        </p:grpSpPr>
        <p:cxnSp>
          <p:nvCxnSpPr>
            <p:cNvPr id="7" name="Straight Connector 22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23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1429443" y="2709931"/>
            <a:ext cx="5343392" cy="492443"/>
          </a:xfrm>
          <a:prstGeom prst="rect">
            <a:avLst/>
          </a:prstGeo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45040" y="3278943"/>
            <a:ext cx="5336477" cy="307777"/>
          </a:xfrm>
          <a:prstGeom prst="rect">
            <a:avLst/>
          </a:prstGeo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906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White Title B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3279775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75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4353" y="2768603"/>
            <a:ext cx="7772400" cy="1470025"/>
          </a:xfrm>
        </p:spPr>
        <p:txBody>
          <a:bodyPr/>
          <a:lstStyle>
            <a:lvl1pPr>
              <a:defRPr sz="2400">
                <a:latin typeface="Expert Humanist Black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475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3880" y="5153035"/>
            <a:ext cx="6400800" cy="1533525"/>
          </a:xfr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pic>
        <p:nvPicPr>
          <p:cNvPr id="5" name="Picture 2" descr="White Title B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White Title B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84" b="-14384"/>
          <a:stretch/>
        </p:blipFill>
        <p:spPr bwMode="auto">
          <a:xfrm>
            <a:off x="0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35303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34520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4" y="440691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4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11170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3" y="1974850"/>
            <a:ext cx="4143375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6775" y="1974850"/>
            <a:ext cx="4143375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53476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78478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55189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87628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13675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81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81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073817"/>
      </p:ext>
    </p:extLst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93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93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93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04449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69143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15125" y="1160469"/>
            <a:ext cx="2114550" cy="52609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1475" y="1160469"/>
            <a:ext cx="6191250" cy="52609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43146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r_06_COL_POS [Converted]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098483" y="3007917"/>
            <a:ext cx="1309851" cy="222742"/>
          </a:xfrm>
          <a:prstGeom prst="rect">
            <a:avLst/>
          </a:prstGeom>
        </p:spPr>
      </p:pic>
      <p:grpSp>
        <p:nvGrpSpPr>
          <p:cNvPr id="15" name="Group 14"/>
          <p:cNvGrpSpPr/>
          <p:nvPr userDrawn="1"/>
        </p:nvGrpSpPr>
        <p:grpSpPr>
          <a:xfrm>
            <a:off x="784216" y="2132016"/>
            <a:ext cx="7140598" cy="1965960"/>
            <a:chOff x="1865096" y="985741"/>
            <a:chExt cx="5446206" cy="3557683"/>
          </a:xfrm>
        </p:grpSpPr>
        <p:cxnSp>
          <p:nvCxnSpPr>
            <p:cNvPr id="23" name="Straight Connector 22"/>
            <p:cNvCxnSpPr/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Straight Connector 23"/>
            <p:cNvCxnSpPr/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966185" y="2701058"/>
            <a:ext cx="6604343" cy="492443"/>
          </a:xfrm>
        </p:spPr>
        <p:txBody>
          <a:bodyPr anchor="b" anchorCtr="0"/>
          <a:lstStyle>
            <a:lvl1pPr>
              <a:defRPr sz="32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966183" y="3273508"/>
            <a:ext cx="659579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3217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6365154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587780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5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499" y="273060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5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858407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9174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5413622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193986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75517" y="1160469"/>
            <a:ext cx="2290763" cy="52609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3224" y="1160469"/>
            <a:ext cx="6719889" cy="52609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1659154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White Title B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3279775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57213" y="2768603"/>
            <a:ext cx="8420100" cy="1470025"/>
          </a:xfrm>
        </p:spPr>
        <p:txBody>
          <a:bodyPr/>
          <a:lstStyle>
            <a:lvl1pPr>
              <a:defRPr sz="2400">
                <a:latin typeface="Expert Humanist Black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67531" y="5153036"/>
            <a:ext cx="6934200" cy="1533525"/>
          </a:xfr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60567189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3074822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9307736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2756" y="1974850"/>
            <a:ext cx="4488656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6509" y="1974850"/>
            <a:ext cx="4488656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9556670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2288588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2594807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208095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4" y="440691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4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25776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6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8395535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4384503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093970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74724" y="1160469"/>
            <a:ext cx="2290763" cy="52609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2431" y="1160469"/>
            <a:ext cx="6707188" cy="52609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1532743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03589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Bar_06_COL_POS [Converted]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841" y="3008313"/>
            <a:ext cx="1311275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8"/>
          <p:cNvGrpSpPr>
            <a:grpSpLocks/>
          </p:cNvGrpSpPr>
          <p:nvPr userDrawn="1"/>
        </p:nvGrpSpPr>
        <p:grpSpPr bwMode="auto">
          <a:xfrm>
            <a:off x="784225" y="2132023"/>
            <a:ext cx="7140575" cy="1965325"/>
            <a:chOff x="1865096" y="985741"/>
            <a:chExt cx="5446206" cy="3557683"/>
          </a:xfrm>
        </p:grpSpPr>
        <p:cxnSp>
          <p:nvCxnSpPr>
            <p:cNvPr id="6" name="Straight Connector 9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11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094668" y="438150"/>
            <a:ext cx="137318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000" b="0" dirty="0" smtClean="0">
                <a:solidFill>
                  <a:srgbClr val="00AEEF"/>
                </a:solidFill>
              </a:rPr>
              <a:t>Signposting</a:t>
            </a:r>
          </a:p>
        </p:txBody>
      </p: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966189" y="2701058"/>
            <a:ext cx="6604343" cy="492443"/>
          </a:xfr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66186" y="3273508"/>
            <a:ext cx="659579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249786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Bar_06_COL_POS [Converted]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841" y="3008313"/>
            <a:ext cx="1311275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4"/>
          <p:cNvGrpSpPr>
            <a:grpSpLocks/>
          </p:cNvGrpSpPr>
          <p:nvPr userDrawn="1"/>
        </p:nvGrpSpPr>
        <p:grpSpPr bwMode="auto">
          <a:xfrm>
            <a:off x="2011368" y="2132023"/>
            <a:ext cx="5913437" cy="1965325"/>
            <a:chOff x="1865096" y="985741"/>
            <a:chExt cx="5446206" cy="3557683"/>
          </a:xfrm>
        </p:grpSpPr>
        <p:cxnSp>
          <p:nvCxnSpPr>
            <p:cNvPr id="6" name="Straight Connector 9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11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203916" y="2708206"/>
            <a:ext cx="5343392" cy="492443"/>
          </a:xfr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210031" y="3278942"/>
            <a:ext cx="533647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2171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Bar_06_COL_POS [Converted]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8" y="6410335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751559" y="2730733"/>
            <a:ext cx="6818973" cy="461665"/>
          </a:xfrm>
        </p:spPr>
        <p:txBody>
          <a:bodyPr anchor="b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1836" y="3273325"/>
            <a:ext cx="6810149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4746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751559" y="2730733"/>
            <a:ext cx="6818973" cy="461665"/>
          </a:xfrm>
        </p:spPr>
        <p:txBody>
          <a:bodyPr anchor="b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1836" y="3281727"/>
            <a:ext cx="6810149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dirty="0"/>
              <a:t>‹#›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7204346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44"/>
            <a:ext cx="8734821" cy="461665"/>
          </a:xfrm>
        </p:spPr>
        <p:txBody>
          <a:bodyPr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91" y="1096009"/>
            <a:ext cx="8671190" cy="2154436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2000">
                <a:latin typeface="+mn-lt"/>
              </a:defRPr>
            </a:lvl2pPr>
            <a:lvl3pPr marL="571500" indent="-342900">
              <a:defRPr sz="2000">
                <a:latin typeface="+mn-lt"/>
              </a:defRPr>
            </a:lvl3pPr>
            <a:lvl4pPr marL="862013" indent="-290513">
              <a:defRPr sz="2000">
                <a:latin typeface="+mn-lt"/>
              </a:defRPr>
            </a:lvl4pPr>
            <a:lvl5pPr marL="1204913" indent="-342900">
              <a:defRPr sz="2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5D6D362-95AA-477C-9B8D-772C13EA69C4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22167086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3" y="1974850"/>
            <a:ext cx="4143375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6775" y="1974850"/>
            <a:ext cx="4143375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70488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umbered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44"/>
            <a:ext cx="8734821" cy="461665"/>
          </a:xfrm>
        </p:spPr>
        <p:txBody>
          <a:bodyPr anchor="t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91" y="1096009"/>
            <a:ext cx="8671190" cy="1938992"/>
          </a:xfrm>
        </p:spPr>
        <p:txBody>
          <a:bodyPr/>
          <a:lstStyle>
            <a:lvl1pPr marL="341313" indent="-341313">
              <a:lnSpc>
                <a:spcPct val="100000"/>
              </a:lnSpc>
              <a:spcBef>
                <a:spcPts val="900"/>
              </a:spcBef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+mn-lt"/>
              </a:defRPr>
            </a:lvl1pPr>
            <a:lvl2pPr marL="682625" indent="-341313">
              <a:lnSpc>
                <a:spcPct val="100000"/>
              </a:lnSpc>
              <a:spcBef>
                <a:spcPts val="900"/>
              </a:spcBef>
              <a:buFont typeface="+mj-lt"/>
              <a:buAutoNum type="alphaLcPeriod"/>
              <a:defRPr sz="2000">
                <a:latin typeface="+mn-lt"/>
              </a:defRPr>
            </a:lvl2pPr>
            <a:lvl3pPr marL="1025525" indent="-333375">
              <a:lnSpc>
                <a:spcPct val="100000"/>
              </a:lnSpc>
              <a:spcBef>
                <a:spcPts val="900"/>
              </a:spcBef>
              <a:defRPr sz="2000">
                <a:latin typeface="+mn-lt"/>
              </a:defRPr>
            </a:lvl3pPr>
            <a:lvl4pPr marL="1146175" indent="-231775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4pPr>
            <a:lvl5pPr marL="1427163" indent="-280988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7B3D05F-ADF1-47CC-8DCF-945D30642116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31169656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6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633413" indent="-228600">
              <a:lnSpc>
                <a:spcPct val="100000"/>
              </a:lnSpc>
              <a:spcBef>
                <a:spcPts val="900"/>
              </a:spcBef>
              <a:defRPr sz="1400"/>
            </a:lvl4pPr>
            <a:lvl5pPr marL="862013" indent="-228600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42" y="1146179"/>
            <a:ext cx="4234127" cy="47926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DFFB628D-5A09-4CF7-838C-F7BA7CBAC493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16846245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tex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6"/>
            <a:ext cx="4253045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813" indent="-228600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77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6915545-BF4A-4479-A0F8-C801C3D930C3}" type="slidenum">
              <a:rPr/>
              <a:pPr>
                <a:defRPr/>
              </a:pPr>
              <a:t>‹#›</a:t>
            </a:fld>
            <a:r>
              <a:rPr dirty="0"/>
              <a:t>  </a:t>
            </a:r>
            <a:r>
              <a:rPr lang="en-GB" dirty="0"/>
              <a:t>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35837078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2 Right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6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571500" indent="-166688">
              <a:lnSpc>
                <a:spcPct val="100000"/>
              </a:lnSpc>
              <a:spcBef>
                <a:spcPts val="900"/>
              </a:spcBef>
              <a:defRPr sz="1400"/>
            </a:lvl4pPr>
            <a:lvl5pPr marL="747713" indent="-176213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42" y="1146191"/>
            <a:ext cx="4234127" cy="229036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56" y="3658277"/>
            <a:ext cx="4234127" cy="229036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4D4BC28-A303-4A99-9779-4FDD819F9599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8149257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 pictures_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3939753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62142" y="1146192"/>
            <a:ext cx="4234127" cy="25817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56" y="1146192"/>
            <a:ext cx="4234127" cy="25817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/>
          </p:nvPr>
        </p:nvSpPr>
        <p:spPr>
          <a:xfrm>
            <a:off x="5170846" y="3939753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AB487F8-AC39-41C2-84D6-324FE6731841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32687548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55" y="452878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59969" y="452878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751255" y="3266415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159969" y="3266415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739509" y="2953812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180880" y="2953812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757304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180880" y="5757304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Footer Placeholder 10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F5A90BA-A380-4B7D-B71E-972D4D47DCB1}" type="slidenum">
              <a:rPr/>
              <a:pPr>
                <a:defRPr/>
              </a:pPr>
              <a:t>‹#›</a:t>
            </a:fld>
            <a:r>
              <a:rPr dirty="0"/>
              <a:t>  </a:t>
            </a:r>
            <a:r>
              <a:rPr lang="en-GB" dirty="0"/>
              <a:t>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30538599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55" y="452877"/>
            <a:ext cx="8643125" cy="5264649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918072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A7D9448F-D1A3-49E3-A475-3F0F5ACCA98C}" type="slidenum">
              <a:rPr/>
              <a:pPr>
                <a:defRPr/>
              </a:pPr>
              <a:t>‹#›</a:t>
            </a:fld>
            <a:r>
              <a:rPr dirty="0"/>
              <a:t>   </a:t>
            </a:r>
            <a:r>
              <a:rPr lang="en-GB" dirty="0"/>
              <a:t>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31378711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784228" y="1081280"/>
            <a:ext cx="3767329" cy="21544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4773174" y="1081280"/>
            <a:ext cx="3767329" cy="21544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b="1"/>
            </a:lvl1pPr>
          </a:lstStyle>
          <a:p>
            <a:pPr>
              <a:defRPr/>
            </a:pPr>
            <a:fld id="{5D419AE1-180D-44EF-9354-1AF60BFA3B81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12311762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33677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5F2697E-1B12-4834-BF67-ECC8223C6D9A}" type="slidenum">
              <a:rPr/>
              <a:pPr>
                <a:defRPr/>
              </a:pPr>
              <a:t>‹#›</a:t>
            </a:fld>
            <a:r>
              <a:rPr dirty="0"/>
              <a:t>  </a:t>
            </a:r>
            <a:r>
              <a:rPr lang="en-GB" dirty="0"/>
              <a:t>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11414979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2025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016731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Bar_06_COL_POS [Converted]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841" y="3008313"/>
            <a:ext cx="1311275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8"/>
          <p:cNvGrpSpPr>
            <a:grpSpLocks/>
          </p:cNvGrpSpPr>
          <p:nvPr userDrawn="1"/>
        </p:nvGrpSpPr>
        <p:grpSpPr bwMode="auto">
          <a:xfrm>
            <a:off x="784225" y="2132023"/>
            <a:ext cx="7140575" cy="1965325"/>
            <a:chOff x="1865096" y="985741"/>
            <a:chExt cx="5446206" cy="3557683"/>
          </a:xfrm>
        </p:grpSpPr>
        <p:cxnSp>
          <p:nvCxnSpPr>
            <p:cNvPr id="6" name="Straight Connector 9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11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094668" y="438150"/>
            <a:ext cx="137318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000" b="0" dirty="0" smtClean="0">
                <a:solidFill>
                  <a:srgbClr val="00AEEF"/>
                </a:solidFill>
              </a:rPr>
              <a:t>Signposting</a:t>
            </a:r>
          </a:p>
        </p:txBody>
      </p: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966189" y="2701058"/>
            <a:ext cx="6604343" cy="492443"/>
          </a:xfr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66186" y="3273508"/>
            <a:ext cx="659579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0532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Bar_06_COL_POS [Converted]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841" y="3008313"/>
            <a:ext cx="1311275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4"/>
          <p:cNvGrpSpPr>
            <a:grpSpLocks/>
          </p:cNvGrpSpPr>
          <p:nvPr userDrawn="1"/>
        </p:nvGrpSpPr>
        <p:grpSpPr bwMode="auto">
          <a:xfrm>
            <a:off x="2011368" y="2132023"/>
            <a:ext cx="5913437" cy="1965325"/>
            <a:chOff x="1865096" y="985741"/>
            <a:chExt cx="5446206" cy="3557683"/>
          </a:xfrm>
        </p:grpSpPr>
        <p:cxnSp>
          <p:nvCxnSpPr>
            <p:cNvPr id="6" name="Straight Connector 9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11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203916" y="2708206"/>
            <a:ext cx="5343392" cy="492443"/>
          </a:xfr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210031" y="3278942"/>
            <a:ext cx="533647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8017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Bar_06_COL_POS [Converted]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8" y="6410335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751559" y="2730733"/>
            <a:ext cx="6818973" cy="461665"/>
          </a:xfrm>
        </p:spPr>
        <p:txBody>
          <a:bodyPr anchor="b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1836" y="3273325"/>
            <a:ext cx="6810149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54315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751559" y="2730733"/>
            <a:ext cx="6818973" cy="461665"/>
          </a:xfrm>
        </p:spPr>
        <p:txBody>
          <a:bodyPr anchor="b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1836" y="3281727"/>
            <a:ext cx="6810149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 dirty="0"/>
              <a:t>‹#›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351613965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44"/>
            <a:ext cx="8734821" cy="461665"/>
          </a:xfrm>
        </p:spPr>
        <p:txBody>
          <a:bodyPr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91" y="1096009"/>
            <a:ext cx="8671190" cy="2154436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2000">
                <a:latin typeface="+mn-lt"/>
              </a:defRPr>
            </a:lvl2pPr>
            <a:lvl3pPr marL="571500" indent="-342900">
              <a:defRPr sz="2000">
                <a:latin typeface="+mn-lt"/>
              </a:defRPr>
            </a:lvl3pPr>
            <a:lvl4pPr marL="862013" indent="-290513">
              <a:defRPr sz="2000">
                <a:latin typeface="+mn-lt"/>
              </a:defRPr>
            </a:lvl4pPr>
            <a:lvl5pPr marL="1204913" indent="-342900">
              <a:defRPr sz="2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F010AAF-7A8B-4E8D-B2CF-0B10B2F398EA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219136686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umbered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44"/>
            <a:ext cx="8734821" cy="461665"/>
          </a:xfrm>
        </p:spPr>
        <p:txBody>
          <a:bodyPr anchor="t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91" y="1096009"/>
            <a:ext cx="8671190" cy="1938992"/>
          </a:xfrm>
        </p:spPr>
        <p:txBody>
          <a:bodyPr/>
          <a:lstStyle>
            <a:lvl1pPr marL="341313" indent="-341313">
              <a:lnSpc>
                <a:spcPct val="100000"/>
              </a:lnSpc>
              <a:spcBef>
                <a:spcPts val="900"/>
              </a:spcBef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+mn-lt"/>
              </a:defRPr>
            </a:lvl1pPr>
            <a:lvl2pPr marL="682625" indent="-341313">
              <a:lnSpc>
                <a:spcPct val="100000"/>
              </a:lnSpc>
              <a:spcBef>
                <a:spcPts val="900"/>
              </a:spcBef>
              <a:buFont typeface="+mj-lt"/>
              <a:buAutoNum type="alphaLcPeriod"/>
              <a:defRPr sz="2000">
                <a:latin typeface="+mn-lt"/>
              </a:defRPr>
            </a:lvl2pPr>
            <a:lvl3pPr marL="1025525" indent="-333375">
              <a:lnSpc>
                <a:spcPct val="100000"/>
              </a:lnSpc>
              <a:spcBef>
                <a:spcPts val="900"/>
              </a:spcBef>
              <a:defRPr sz="2000">
                <a:latin typeface="+mn-lt"/>
              </a:defRPr>
            </a:lvl3pPr>
            <a:lvl4pPr marL="1146175" indent="-231775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4pPr>
            <a:lvl5pPr marL="1427163" indent="-280988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4EE6061D-E8A4-4A21-B821-9AAC612DCA3E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33998209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6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633413" indent="-228600">
              <a:lnSpc>
                <a:spcPct val="100000"/>
              </a:lnSpc>
              <a:spcBef>
                <a:spcPts val="900"/>
              </a:spcBef>
              <a:defRPr sz="1400"/>
            </a:lvl4pPr>
            <a:lvl5pPr marL="862013" indent="-228600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42" y="1146179"/>
            <a:ext cx="4234127" cy="47926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6B9B482-0EA4-431C-8742-FE8ACC4E961F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17098690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tex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6"/>
            <a:ext cx="4253045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813" indent="-228600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77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2EB6431-B7F0-4966-8737-87839B52C20F}" type="slidenum">
              <a:rPr/>
              <a:pPr>
                <a:defRPr/>
              </a:pPr>
              <a:t>‹#›</a:t>
            </a:fld>
            <a:r>
              <a:rPr dirty="0"/>
              <a:t>  </a:t>
            </a:r>
            <a:r>
              <a:rPr lang="en-GB" dirty="0"/>
              <a:t>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296033147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2 Right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6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571500" indent="-166688">
              <a:lnSpc>
                <a:spcPct val="100000"/>
              </a:lnSpc>
              <a:spcBef>
                <a:spcPts val="900"/>
              </a:spcBef>
              <a:defRPr sz="1400"/>
            </a:lvl4pPr>
            <a:lvl5pPr marL="747713" indent="-176213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42" y="1146191"/>
            <a:ext cx="4234127" cy="229036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56" y="3658277"/>
            <a:ext cx="4234127" cy="229036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83B15D43-B6D6-4F26-9B12-3DF779971DF7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1840038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47547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 pictures_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3939753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62142" y="1146192"/>
            <a:ext cx="4234127" cy="25817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56" y="1146192"/>
            <a:ext cx="4234127" cy="25817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/>
          </p:nvPr>
        </p:nvSpPr>
        <p:spPr>
          <a:xfrm>
            <a:off x="5170846" y="3939753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6E38E7E-B914-47D4-B1F2-2CBAD55C8527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6407295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55" y="452878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59969" y="452878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751255" y="3266415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159969" y="3266415"/>
            <a:ext cx="4234127" cy="2451111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739509" y="2953812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180880" y="2953812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757304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180880" y="5757304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Footer Placeholder 10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897E61F-2E68-4406-A724-22B7B5C55060}" type="slidenum">
              <a:rPr/>
              <a:pPr>
                <a:defRPr/>
              </a:pPr>
              <a:t>‹#›</a:t>
            </a:fld>
            <a:r>
              <a:rPr dirty="0"/>
              <a:t>  </a:t>
            </a:r>
            <a:r>
              <a:rPr lang="en-GB" dirty="0"/>
              <a:t>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44792532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55" y="452877"/>
            <a:ext cx="8643125" cy="5264649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918072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5989AC2-EE57-4BEC-A8AD-856E16C232B8}" type="slidenum">
              <a:rPr/>
              <a:pPr>
                <a:defRPr/>
              </a:pPr>
              <a:t>‹#›</a:t>
            </a:fld>
            <a:r>
              <a:rPr dirty="0"/>
              <a:t>   </a:t>
            </a:r>
            <a:r>
              <a:rPr lang="en-GB" dirty="0"/>
              <a:t>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23580564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784228" y="1081280"/>
            <a:ext cx="3767329" cy="21544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4773174" y="1081280"/>
            <a:ext cx="3767329" cy="21544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>
              <a:defRPr b="1"/>
            </a:lvl1pPr>
          </a:lstStyle>
          <a:p>
            <a:pPr>
              <a:defRPr/>
            </a:pPr>
            <a:fld id="{8C37A56E-F712-4E8A-A8C6-B4ACDC47DC4D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162937724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54471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B9FE9FB-759B-4B0D-99BE-676229739721}" type="slidenum">
              <a:rPr/>
              <a:pPr>
                <a:defRPr/>
              </a:pPr>
              <a:t>‹#›</a:t>
            </a:fld>
            <a:r>
              <a:rPr dirty="0"/>
              <a:t>  </a:t>
            </a:r>
            <a:r>
              <a:rPr lang="en-GB" dirty="0"/>
              <a:t>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  <p:extLst>
      <p:ext uri="{BB962C8B-B14F-4D97-AF65-F5344CB8AC3E}">
        <p14:creationId xmlns:p14="http://schemas.microsoft.com/office/powerpoint/2010/main" val="397977933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Bar_06_COL_POS [Converted]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8" y="6410335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Bar_06_COL_POS [Converted]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8" y="6410335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ine 32"/>
          <p:cNvSpPr>
            <a:spLocks noChangeShapeType="1"/>
          </p:cNvSpPr>
          <p:nvPr/>
        </p:nvSpPr>
        <p:spPr bwMode="auto">
          <a:xfrm>
            <a:off x="735019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dirty="0"/>
          </a:p>
        </p:txBody>
      </p:sp>
      <p:sp>
        <p:nvSpPr>
          <p:cNvPr id="156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35013" y="2725738"/>
            <a:ext cx="5716588" cy="457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1566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35013" y="3294063"/>
            <a:ext cx="5705475" cy="3048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defTabSz="457200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C7A0EA2-E0F6-4B7A-BCCB-50D8A67533BD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524313490"/>
      </p:ext>
    </p:extLst>
  </p:cSld>
  <p:clrMapOvr>
    <a:masterClrMapping/>
  </p:clrMapOvr>
  <p:hf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/>
            </a:lvl1pPr>
          </a:lstStyle>
          <a:p>
            <a:pPr>
              <a:defRPr/>
            </a:pPr>
            <a:fld id="{6C1FC531-94EE-4391-A7B5-2FE4D6D95636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230227494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7"/>
            <a:ext cx="8420100" cy="61555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4099136"/>
            <a:ext cx="84201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/>
            </a:lvl1pPr>
          </a:lstStyle>
          <a:p>
            <a:pPr>
              <a:defRPr/>
            </a:pPr>
            <a:fld id="{C08F813D-FE40-4EEB-8C6C-C6B8B2DB625A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23366597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3588" y="1095375"/>
            <a:ext cx="4259262" cy="27084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75258" y="1095375"/>
            <a:ext cx="4259263" cy="27084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/>
            </a:lvl1pPr>
          </a:lstStyle>
          <a:p>
            <a:pPr>
              <a:defRPr/>
            </a:pPr>
            <a:fld id="{6FB84437-033F-42D6-A025-A88BFF11B102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25148796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92929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615318"/>
            <a:ext cx="8915400" cy="46166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805543"/>
            <a:ext cx="4376738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88"/>
            <a:ext cx="4376738" cy="198515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83" y="1805543"/>
            <a:ext cx="43783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83" y="2174888"/>
            <a:ext cx="4378325" cy="198515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/>
            </a:lvl1pPr>
          </a:lstStyle>
          <a:p>
            <a:pPr>
              <a:defRPr/>
            </a:pPr>
            <a:fld id="{7CA43EB6-ACFC-4B68-9D5F-BABE38FC6080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314483552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/>
            </a:lvl1pPr>
          </a:lstStyle>
          <a:p>
            <a:pPr>
              <a:defRPr/>
            </a:pPr>
            <a:fld id="{29DE8A29-8F87-4003-AB96-59D69FE588DF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184416794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>
                <a:ea typeface="MS PGothic" pitchFamily="34" charset="-128"/>
              </a:defRPr>
            </a:lvl1pPr>
          </a:lstStyle>
          <a:p>
            <a:pPr>
              <a:defRPr/>
            </a:pPr>
            <a:fld id="{58A80252-1755-4B1F-B081-F7789D104A48}" type="slidenum">
              <a:rPr/>
              <a:pPr>
                <a:defRPr/>
              </a:pPr>
              <a:t>‹#›</a:t>
            </a:fld>
            <a:r>
              <a:rPr dirty="0"/>
              <a:t>   |   Barclays presentation title  |  6th  2012</a:t>
            </a:r>
          </a:p>
        </p:txBody>
      </p:sp>
    </p:spTree>
    <p:extLst>
      <p:ext uri="{BB962C8B-B14F-4D97-AF65-F5344CB8AC3E}">
        <p14:creationId xmlns:p14="http://schemas.microsoft.com/office/powerpoint/2010/main" val="7719184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6" y="819560"/>
            <a:ext cx="3259138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499" y="273061"/>
            <a:ext cx="5537201" cy="261610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6" y="1435101"/>
            <a:ext cx="3259138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/>
            </a:lvl1pPr>
          </a:lstStyle>
          <a:p>
            <a:pPr>
              <a:defRPr/>
            </a:pPr>
            <a:fld id="{F6C610D9-2F01-423C-9579-3788DEB51508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125393357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5059574"/>
            <a:ext cx="59436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8"/>
            <a:ext cx="59436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/>
            </a:lvl1pPr>
          </a:lstStyle>
          <a:p>
            <a:pPr>
              <a:defRPr/>
            </a:pPr>
            <a:fld id="{2A579ABB-C2A5-4693-98E5-23E97ABB5C29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144793187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56748" y="1095375"/>
            <a:ext cx="3077766" cy="2133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/>
            </a:lvl1pPr>
          </a:lstStyle>
          <a:p>
            <a:pPr>
              <a:defRPr/>
            </a:pPr>
            <a:fld id="{2BA7371B-9299-43A1-AEAE-AADB497914CD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321183886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37003" y="384175"/>
            <a:ext cx="923330" cy="2844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87481" y="384175"/>
            <a:ext cx="2667397" cy="28448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457200">
              <a:defRPr b="1"/>
            </a:lvl1pPr>
          </a:lstStyle>
          <a:p>
            <a:pPr>
              <a:defRPr/>
            </a:pPr>
            <a:fld id="{4E683981-2D11-45F0-A511-F5B58DA3D4F0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27870667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Bar_06_COL_POS [Converted]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841" y="3008313"/>
            <a:ext cx="1311275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4"/>
          <p:cNvGrpSpPr>
            <a:grpSpLocks/>
          </p:cNvGrpSpPr>
          <p:nvPr userDrawn="1"/>
        </p:nvGrpSpPr>
        <p:grpSpPr bwMode="auto">
          <a:xfrm>
            <a:off x="2012950" y="2132023"/>
            <a:ext cx="5911850" cy="1965325"/>
            <a:chOff x="1865096" y="985741"/>
            <a:chExt cx="5446206" cy="3557683"/>
          </a:xfrm>
        </p:grpSpPr>
        <p:cxnSp>
          <p:nvCxnSpPr>
            <p:cNvPr id="6" name="Straight Connector 8"/>
            <p:cNvCxnSpPr>
              <a:cxnSpLocks noChangeShapeType="1"/>
            </p:cNvCxnSpPr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9"/>
            <p:cNvCxnSpPr>
              <a:cxnSpLocks noChangeShapeType="1"/>
            </p:cNvCxnSpPr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203916" y="2708212"/>
            <a:ext cx="5343392" cy="492443"/>
          </a:xfrm>
        </p:spPr>
        <p:txBody>
          <a:bodyPr anchor="b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210034" y="3278942"/>
            <a:ext cx="533647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641853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op pictures_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3939750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62145" y="1146189"/>
            <a:ext cx="4234127" cy="25817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59" y="1146189"/>
            <a:ext cx="4234127" cy="258176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/>
          </p:nvPr>
        </p:nvSpPr>
        <p:spPr>
          <a:xfrm>
            <a:off x="5170846" y="3939750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30C256E-B7E8-4539-8B53-59B6FA14F60A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416339146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751559" y="2730739"/>
            <a:ext cx="6818973" cy="461665"/>
          </a:xfrm>
        </p:spPr>
        <p:txBody>
          <a:bodyPr anchor="b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1839" y="3281727"/>
            <a:ext cx="6810149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dirty="0"/>
              <a:t>‹#›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32348763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0163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4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9723663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2072998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9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9082089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2755" y="1974850"/>
            <a:ext cx="4488656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6509" y="1974850"/>
            <a:ext cx="4488656" cy="4446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5445343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2882361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0796" y="116632"/>
            <a:ext cx="6484689" cy="360040"/>
          </a:xfrm>
        </p:spPr>
        <p:txBody>
          <a:bodyPr/>
          <a:lstStyle>
            <a:lvl1pPr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2654072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66785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9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2774581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3731658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99764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93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93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93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1037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74723" y="1160469"/>
            <a:ext cx="2290763" cy="52609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2431" y="1160469"/>
            <a:ext cx="6707188" cy="52609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753023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Bar_06_COL_POS [Converted]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7" y="6410333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32"/>
          <p:cNvSpPr>
            <a:spLocks noChangeShapeType="1"/>
          </p:cNvSpPr>
          <p:nvPr/>
        </p:nvSpPr>
        <p:spPr bwMode="auto">
          <a:xfrm>
            <a:off x="735017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900" b="0" dirty="0" smtClean="0">
              <a:solidFill>
                <a:srgbClr val="00AEEF"/>
              </a:solidFill>
            </a:endParaRPr>
          </a:p>
        </p:txBody>
      </p:sp>
      <p:sp>
        <p:nvSpPr>
          <p:cNvPr id="7168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95513" y="2708918"/>
            <a:ext cx="5716588" cy="492443"/>
          </a:xfrm>
        </p:spPr>
        <p:txBody>
          <a:bodyPr/>
          <a:lstStyle>
            <a:lvl1pPr>
              <a:defRPr sz="3200" b="1" smtClean="0"/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7168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95517" y="3179763"/>
            <a:ext cx="5705475" cy="304800"/>
          </a:xfrm>
        </p:spPr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93420504"/>
      </p:ext>
    </p:extLst>
  </p:cSld>
  <p:clrMapOvr>
    <a:masterClrMapping/>
  </p:clrMapOvr>
  <p:hf hd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38"/>
            <a:ext cx="8734821" cy="461665"/>
          </a:xfrm>
        </p:spPr>
        <p:txBody>
          <a:bodyPr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91" y="1096009"/>
            <a:ext cx="8671190" cy="2154436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2000">
                <a:latin typeface="+mn-lt"/>
              </a:defRPr>
            </a:lvl2pPr>
            <a:lvl3pPr marL="571500" indent="-342900">
              <a:defRPr sz="2000">
                <a:latin typeface="+mn-lt"/>
              </a:defRPr>
            </a:lvl3pPr>
            <a:lvl4pPr marL="862013" indent="-290513">
              <a:defRPr sz="2000">
                <a:latin typeface="+mn-lt"/>
              </a:defRPr>
            </a:lvl4pPr>
            <a:lvl5pPr marL="1204913" indent="-342900">
              <a:defRPr sz="20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835362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umbered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38"/>
            <a:ext cx="8734821" cy="461665"/>
          </a:xfrm>
        </p:spPr>
        <p:txBody>
          <a:bodyPr anchor="t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91" y="1096009"/>
            <a:ext cx="8671190" cy="1938992"/>
          </a:xfrm>
        </p:spPr>
        <p:txBody>
          <a:bodyPr/>
          <a:lstStyle>
            <a:lvl1pPr marL="341313" indent="-341313">
              <a:lnSpc>
                <a:spcPct val="100000"/>
              </a:lnSpc>
              <a:spcBef>
                <a:spcPts val="900"/>
              </a:spcBef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+mn-lt"/>
              </a:defRPr>
            </a:lvl1pPr>
            <a:lvl2pPr marL="682625" indent="-341313">
              <a:lnSpc>
                <a:spcPct val="100000"/>
              </a:lnSpc>
              <a:spcBef>
                <a:spcPts val="900"/>
              </a:spcBef>
              <a:buFont typeface="+mj-lt"/>
              <a:buAutoNum type="alphaLcPeriod"/>
              <a:defRPr sz="2000">
                <a:latin typeface="+mn-lt"/>
              </a:defRPr>
            </a:lvl2pPr>
            <a:lvl3pPr marL="1025525" indent="-333375">
              <a:lnSpc>
                <a:spcPct val="100000"/>
              </a:lnSpc>
              <a:spcBef>
                <a:spcPts val="900"/>
              </a:spcBef>
              <a:defRPr sz="2000">
                <a:latin typeface="+mn-lt"/>
              </a:defRPr>
            </a:lvl3pPr>
            <a:lvl4pPr marL="1146175" indent="-231775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4pPr>
            <a:lvl5pPr marL="1427163" indent="-280988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10036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6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633413" indent="-228600">
              <a:lnSpc>
                <a:spcPct val="100000"/>
              </a:lnSpc>
              <a:spcBef>
                <a:spcPts val="900"/>
              </a:spcBef>
              <a:defRPr sz="1400"/>
            </a:lvl4pPr>
            <a:lvl5pPr marL="862013" indent="-228600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39" y="1146179"/>
            <a:ext cx="4234127" cy="4792663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60184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tex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6"/>
            <a:ext cx="4253045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813" indent="-228600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77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66136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2 Right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6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571500" indent="-166688">
              <a:lnSpc>
                <a:spcPct val="100000"/>
              </a:lnSpc>
              <a:spcBef>
                <a:spcPts val="900"/>
              </a:spcBef>
              <a:defRPr sz="1400"/>
            </a:lvl4pPr>
            <a:lvl5pPr marL="747713" indent="-176213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39" y="1146185"/>
            <a:ext cx="4234127" cy="229036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52" y="3658271"/>
            <a:ext cx="4234127" cy="229036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046759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 pictures_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3939747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62139" y="1146186"/>
            <a:ext cx="4234127" cy="2581763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52" y="1146186"/>
            <a:ext cx="4234127" cy="2581763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/>
          </p:nvPr>
        </p:nvSpPr>
        <p:spPr>
          <a:xfrm>
            <a:off x="5170846" y="3939747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342808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52" y="452872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59966" y="452872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751252" y="3266409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159966" y="3266409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739509" y="2953806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180880" y="2953806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75729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180880" y="575729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21553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52" y="452871"/>
            <a:ext cx="8643125" cy="5264649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918066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136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40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theme" Target="../theme/theme11.xml"/><Relationship Id="rId2" Type="http://schemas.openxmlformats.org/officeDocument/2006/relationships/slideLayout" Target="../slideLayouts/slideLayout129.xml"/><Relationship Id="rId16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4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6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15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49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3.xml"/><Relationship Id="rId9" Type="http://schemas.openxmlformats.org/officeDocument/2006/relationships/oleObject" Target="../embeddings/oleObject2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2.xml"/><Relationship Id="rId16" Type="http://schemas.openxmlformats.org/officeDocument/2006/relationships/theme" Target="../theme/theme8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hite Title BG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84" b="-14384"/>
          <a:stretch/>
        </p:blipFill>
        <p:spPr bwMode="auto">
          <a:xfrm>
            <a:off x="0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3225" y="1160473"/>
            <a:ext cx="916305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sub title style 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2753" y="1974850"/>
            <a:ext cx="9142413" cy="444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9" name="Line 5"/>
          <p:cNvSpPr>
            <a:spLocks noChangeShapeType="1"/>
          </p:cNvSpPr>
          <p:nvPr/>
        </p:nvSpPr>
        <p:spPr bwMode="auto">
          <a:xfrm>
            <a:off x="401638" y="744465"/>
            <a:ext cx="9101138" cy="0"/>
          </a:xfrm>
          <a:prstGeom prst="line">
            <a:avLst/>
          </a:prstGeom>
          <a:noFill/>
          <a:ln w="19050">
            <a:solidFill>
              <a:srgbClr val="80828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1030" name="Text Box 6"/>
          <p:cNvSpPr txBox="1">
            <a:spLocks noChangeArrowheads="1"/>
          </p:cNvSpPr>
          <p:nvPr/>
        </p:nvSpPr>
        <p:spPr bwMode="auto">
          <a:xfrm>
            <a:off x="8534400" y="6613535"/>
            <a:ext cx="1371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174BB9EC-E004-4F94-8034-BB5273A71642}" type="slidenum">
              <a:rPr lang="en-GB" sz="1000" b="0" smtClean="0">
                <a:latin typeface="Arial" charset="0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GB" sz="1000" b="0" dirty="0" smtClean="0">
              <a:latin typeface="Arial" charset="0"/>
            </a:endParaRPr>
          </a:p>
        </p:txBody>
      </p:sp>
      <p:sp>
        <p:nvSpPr>
          <p:cNvPr id="7" name="TextBox 7"/>
          <p:cNvSpPr txBox="1">
            <a:spLocks noChangeArrowheads="1"/>
          </p:cNvSpPr>
          <p:nvPr/>
        </p:nvSpPr>
        <p:spPr bwMode="auto">
          <a:xfrm>
            <a:off x="401638" y="6628372"/>
            <a:ext cx="4827587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GB" sz="900" dirty="0"/>
              <a:t>Company </a:t>
            </a:r>
            <a:r>
              <a:rPr lang="en-GB" sz="900" dirty="0" smtClean="0"/>
              <a:t>Confidential</a:t>
            </a:r>
            <a:endParaRPr lang="en-GB" sz="9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149" r:id="rId1"/>
    <p:sldLayoutId id="2147490150" r:id="rId2"/>
    <p:sldLayoutId id="2147490151" r:id="rId3"/>
    <p:sldLayoutId id="2147490152" r:id="rId4"/>
    <p:sldLayoutId id="2147490153" r:id="rId5"/>
    <p:sldLayoutId id="2147490154" r:id="rId6"/>
    <p:sldLayoutId id="2147490155" r:id="rId7"/>
    <p:sldLayoutId id="2147490156" r:id="rId8"/>
    <p:sldLayoutId id="2147490157" r:id="rId9"/>
    <p:sldLayoutId id="2147490158" r:id="rId10"/>
    <p:sldLayoutId id="2147490159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20000"/>
        </a:spcAft>
        <a:buFont typeface="Expert Sans Regular" pitchFamily="34" charset="0"/>
        <a:buChar char="−"/>
        <a:defRPr sz="12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ú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White Title B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18" t="11897" r="1218" b="11897"/>
          <a:stretch>
            <a:fillRect/>
          </a:stretch>
        </p:blipFill>
        <p:spPr bwMode="auto">
          <a:xfrm>
            <a:off x="1" y="1"/>
            <a:ext cx="3080147" cy="77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ext Box 6"/>
          <p:cNvSpPr txBox="1">
            <a:spLocks noChangeArrowheads="1"/>
          </p:cNvSpPr>
          <p:nvPr/>
        </p:nvSpPr>
        <p:spPr bwMode="auto">
          <a:xfrm>
            <a:off x="8029709" y="6503989"/>
            <a:ext cx="137067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67CCE959-5406-4B68-9F4C-BA268D899A9A}" type="slidenum">
              <a:rPr lang="en-GB" sz="1000" b="0" smtClean="0">
                <a:solidFill>
                  <a:srgbClr val="808284"/>
                </a:solidFill>
                <a:ea typeface="MS PGothic" pitchFamily="34" charset="-128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GB" sz="1000" b="0" dirty="0" smtClean="0">
              <a:solidFill>
                <a:srgbClr val="808284"/>
              </a:solidFill>
              <a:ea typeface="MS PGothic" pitchFamily="34" charset="-128"/>
            </a:endParaRPr>
          </a:p>
        </p:txBody>
      </p:sp>
      <p:sp>
        <p:nvSpPr>
          <p:cNvPr id="1843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2431" y="1160464"/>
            <a:ext cx="916305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sub title style </a:t>
            </a:r>
          </a:p>
        </p:txBody>
      </p:sp>
      <p:sp>
        <p:nvSpPr>
          <p:cNvPr id="1843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2750" y="1974850"/>
            <a:ext cx="9142413" cy="444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5860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248" r:id="rId1"/>
    <p:sldLayoutId id="2147490249" r:id="rId2"/>
    <p:sldLayoutId id="2147490250" r:id="rId3"/>
    <p:sldLayoutId id="2147490251" r:id="rId4"/>
    <p:sldLayoutId id="2147490252" r:id="rId5"/>
    <p:sldLayoutId id="2147490253" r:id="rId6"/>
    <p:sldLayoutId id="2147490254" r:id="rId7"/>
    <p:sldLayoutId id="2147490255" r:id="rId8"/>
    <p:sldLayoutId id="2147490256" r:id="rId9"/>
    <p:sldLayoutId id="2147490257" r:id="rId10"/>
    <p:sldLayoutId id="2147490258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20000"/>
        </a:spcAft>
        <a:buFont typeface="Expert Sans Regular" pitchFamily="34" charset="0"/>
        <a:buChar char="−"/>
        <a:defRPr sz="12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ú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Bar_06_COL_POS [Converted].png"/>
          <p:cNvPicPr>
            <a:picLocks noChangeAspect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107363" y="6410325"/>
            <a:ext cx="1298575" cy="220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384175"/>
            <a:ext cx="8734425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88" y="1095375"/>
            <a:ext cx="8670925" cy="2155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72" name="Line 32"/>
          <p:cNvSpPr>
            <a:spLocks noChangeShapeType="1"/>
          </p:cNvSpPr>
          <p:nvPr/>
        </p:nvSpPr>
        <p:spPr bwMode="auto">
          <a:xfrm>
            <a:off x="735013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US" sz="3600" b="0" dirty="0">
              <a:solidFill>
                <a:srgbClr val="00AEEF"/>
              </a:solidFill>
              <a:latin typeface="Expert Sans Regular"/>
              <a:cs typeface="+mn-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41363" y="6316663"/>
            <a:ext cx="3136900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231DE70-11A9-4360-8F70-119A89213BEE}" type="slidenum">
              <a:rPr b="0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b="0" dirty="0">
                <a:solidFill>
                  <a:srgbClr val="000000"/>
                </a:solidFill>
              </a:rPr>
              <a:t>   |   Barclays presentation title  |  30 January 2012</a:t>
            </a:r>
          </a:p>
        </p:txBody>
      </p:sp>
    </p:spTree>
    <p:extLst>
      <p:ext uri="{BB962C8B-B14F-4D97-AF65-F5344CB8AC3E}">
        <p14:creationId xmlns:p14="http://schemas.microsoft.com/office/powerpoint/2010/main" val="4015482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261" r:id="rId1"/>
    <p:sldLayoutId id="2147490262" r:id="rId2"/>
    <p:sldLayoutId id="2147490263" r:id="rId3"/>
    <p:sldLayoutId id="2147490264" r:id="rId4"/>
    <p:sldLayoutId id="2147490265" r:id="rId5"/>
    <p:sldLayoutId id="2147490266" r:id="rId6"/>
    <p:sldLayoutId id="2147490267" r:id="rId7"/>
    <p:sldLayoutId id="2147490268" r:id="rId8"/>
    <p:sldLayoutId id="2147490269" r:id="rId9"/>
    <p:sldLayoutId id="2147490270" r:id="rId10"/>
    <p:sldLayoutId id="2147490271" r:id="rId11"/>
    <p:sldLayoutId id="2147490272" r:id="rId12"/>
    <p:sldLayoutId id="2147490273" r:id="rId13"/>
    <p:sldLayoutId id="2147490274" r:id="rId14"/>
    <p:sldLayoutId id="2147490275" r:id="rId15"/>
    <p:sldLayoutId id="2147490276" r:id="rId16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9pPr>
    </p:titleStyle>
    <p:bodyStyle>
      <a:lvl1pPr algn="l" rtl="0" fontAlgn="base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rtl="0" fontAlgn="base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568325" indent="-333375" algn="l" rtl="0" fontAlgn="base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858838" indent="-290513" algn="l" rtl="0" fontAlgn="base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1204913" indent="-346075" algn="l" rtl="0" fontAlgn="base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5pPr>
      <a:lvl6pPr marL="24606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6pPr>
      <a:lvl7pPr marL="29178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7pPr>
      <a:lvl8pPr marL="33750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8pPr>
      <a:lvl9pPr marL="38322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Bar_06_COL_POS [Converted]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5" y="6410329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2" y="384179"/>
            <a:ext cx="87344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90" y="1095379"/>
            <a:ext cx="8670925" cy="2155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9" name="Line 32"/>
          <p:cNvSpPr>
            <a:spLocks noChangeShapeType="1"/>
          </p:cNvSpPr>
          <p:nvPr/>
        </p:nvSpPr>
        <p:spPr bwMode="auto">
          <a:xfrm>
            <a:off x="735015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pPr eaLnBrk="0" hangingPunct="0">
              <a:spcBef>
                <a:spcPct val="50000"/>
              </a:spcBef>
              <a:buClr>
                <a:srgbClr val="969696"/>
              </a:buClr>
            </a:pPr>
            <a:endParaRPr lang="en-GB" sz="1000" b="0" dirty="0">
              <a:solidFill>
                <a:srgbClr val="000000"/>
              </a:solidFill>
            </a:endParaRPr>
          </a:p>
        </p:txBody>
      </p:sp>
      <p:sp>
        <p:nvSpPr>
          <p:cNvPr id="7" name="Footer Placeholder 10"/>
          <p:cNvSpPr txBox="1">
            <a:spLocks/>
          </p:cNvSpPr>
          <p:nvPr userDrawn="1"/>
        </p:nvSpPr>
        <p:spPr bwMode="auto">
          <a:xfrm>
            <a:off x="741364" y="6316280"/>
            <a:ext cx="4745037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>
            <a:lvl1pP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8CDBB4E3-A149-4104-93BC-A3E399AF4099}" type="slidenum">
              <a:rPr lang="en-US" sz="900" b="0" smtClean="0">
                <a:solidFill>
                  <a:srgbClr val="000000"/>
                </a:solidFill>
              </a:rPr>
              <a:pPr>
                <a:spcBef>
                  <a:spcPct val="50000"/>
                </a:spcBef>
                <a:defRPr/>
              </a:pPr>
              <a:t>‹#›</a:t>
            </a:fld>
            <a:r>
              <a:rPr lang="en-US" sz="900" b="0" dirty="0" smtClean="0">
                <a:solidFill>
                  <a:srgbClr val="000000"/>
                </a:solidFill>
              </a:rPr>
              <a:t>   |   </a:t>
            </a:r>
            <a:r>
              <a:rPr lang="en-GB" sz="900" b="0" dirty="0" smtClean="0">
                <a:solidFill>
                  <a:srgbClr val="000000"/>
                </a:solidFill>
                <a:latin typeface="Arial" charset="0"/>
              </a:rPr>
              <a:t>Barclays Corporate Enterprise Release Management </a:t>
            </a:r>
            <a:r>
              <a:rPr lang="en-US" sz="900" b="0" dirty="0" smtClean="0">
                <a:solidFill>
                  <a:srgbClr val="000000"/>
                </a:solidFill>
              </a:rPr>
              <a:t>| 2014</a:t>
            </a:r>
          </a:p>
        </p:txBody>
      </p:sp>
      <p:sp>
        <p:nvSpPr>
          <p:cNvPr id="1031" name="TextBox 7"/>
          <p:cNvSpPr txBox="1">
            <a:spLocks noChangeArrowheads="1"/>
          </p:cNvSpPr>
          <p:nvPr userDrawn="1"/>
        </p:nvSpPr>
        <p:spPr bwMode="auto">
          <a:xfrm>
            <a:off x="741365" y="6500813"/>
            <a:ext cx="4827587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defRPr sz="1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US" sz="900" b="0" dirty="0" smtClean="0">
                <a:solidFill>
                  <a:srgbClr val="000000"/>
                </a:solidFill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468480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278" r:id="rId1"/>
    <p:sldLayoutId id="2147490279" r:id="rId2"/>
    <p:sldLayoutId id="2147490280" r:id="rId3"/>
    <p:sldLayoutId id="2147490281" r:id="rId4"/>
    <p:sldLayoutId id="2147490283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568325" indent="-3333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858838" indent="-290513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1204913" indent="-3460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5pPr>
      <a:lvl6pPr marL="24606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6pPr>
      <a:lvl7pPr marL="29178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7pPr>
      <a:lvl8pPr marL="33750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8pPr>
      <a:lvl9pPr marL="38322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608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8" y="160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27" name="Object 2" hidden="1"/>
          <p:cNvGraphicFramePr>
            <a:graphicFrameLocks noChangeAspect="1"/>
          </p:cNvGraphicFramePr>
          <p:nvPr/>
        </p:nvGraphicFramePr>
        <p:xfrm>
          <a:off x="1608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8" y="160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23429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286" r:id="rId1"/>
    <p:sldLayoutId id="2147490287" r:id="rId2"/>
    <p:sldLayoutId id="2147490288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ＭＳ Ｐゴシック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  <a:ea typeface="ＭＳ Ｐゴシック" pitchFamily="34" charset="-128"/>
        </a:defRPr>
      </a:lvl5pPr>
      <a:lvl6pPr marL="457034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6pPr>
      <a:lvl7pPr marL="91407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7pPr>
      <a:lvl8pPr marL="1371106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8pPr>
      <a:lvl9pPr marL="182814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14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230188" indent="-230188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1400">
          <a:solidFill>
            <a:schemeClr val="tx1"/>
          </a:solidFill>
          <a:latin typeface="+mn-lt"/>
          <a:ea typeface="ＭＳ Ｐゴシック" pitchFamily="34" charset="-128"/>
        </a:defRPr>
      </a:lvl2pPr>
      <a:lvl3pPr marL="566738" indent="-3317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  <a:ea typeface="ＭＳ Ｐゴシック" pitchFamily="34" charset="-128"/>
        </a:defRPr>
      </a:lvl3pPr>
      <a:lvl4pPr marL="857250" indent="-288925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1400">
          <a:solidFill>
            <a:schemeClr val="tx1"/>
          </a:solidFill>
          <a:latin typeface="+mn-lt"/>
          <a:ea typeface="ＭＳ Ｐゴシック" pitchFamily="34" charset="-128"/>
        </a:defRPr>
      </a:lvl4pPr>
      <a:lvl5pPr marL="1203325" indent="-3444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  <a:ea typeface="ＭＳ Ｐゴシック" pitchFamily="34" charset="-128"/>
        </a:defRPr>
      </a:lvl5pPr>
      <a:lvl6pPr marL="2459737" indent="-174562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6pPr>
      <a:lvl7pPr marL="2916773" indent="-174562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7pPr>
      <a:lvl8pPr marL="3373807" indent="-174562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8pPr>
      <a:lvl9pPr marL="3830843" indent="-174562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4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70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6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40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76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11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46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81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hite Title BG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84" b="-14384"/>
          <a:stretch/>
        </p:blipFill>
        <p:spPr bwMode="auto">
          <a:xfrm>
            <a:off x="0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3225" y="1160473"/>
            <a:ext cx="916305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sub title style 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2753" y="1974850"/>
            <a:ext cx="9142413" cy="444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9" name="Line 5"/>
          <p:cNvSpPr>
            <a:spLocks noChangeShapeType="1"/>
          </p:cNvSpPr>
          <p:nvPr/>
        </p:nvSpPr>
        <p:spPr bwMode="auto">
          <a:xfrm>
            <a:off x="401638" y="744465"/>
            <a:ext cx="9101138" cy="0"/>
          </a:xfrm>
          <a:prstGeom prst="line">
            <a:avLst/>
          </a:prstGeom>
          <a:noFill/>
          <a:ln w="19050">
            <a:solidFill>
              <a:srgbClr val="80828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>
              <a:solidFill>
                <a:srgbClr val="808284"/>
              </a:solidFill>
            </a:endParaRPr>
          </a:p>
        </p:txBody>
      </p:sp>
      <p:sp>
        <p:nvSpPr>
          <p:cNvPr id="1030" name="Text Box 6"/>
          <p:cNvSpPr txBox="1">
            <a:spLocks noChangeArrowheads="1"/>
          </p:cNvSpPr>
          <p:nvPr/>
        </p:nvSpPr>
        <p:spPr bwMode="auto">
          <a:xfrm>
            <a:off x="8534400" y="6613535"/>
            <a:ext cx="1371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174BB9EC-E004-4F94-8034-BB5273A71642}" type="slidenum">
              <a:rPr lang="en-GB" sz="1000" b="0" smtClean="0">
                <a:solidFill>
                  <a:srgbClr val="808284"/>
                </a:solidFill>
                <a:latin typeface="Arial" charset="0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GB" sz="1000" b="0" dirty="0" smtClean="0">
              <a:solidFill>
                <a:srgbClr val="808284"/>
              </a:solidFill>
              <a:latin typeface="Arial" charset="0"/>
            </a:endParaRPr>
          </a:p>
        </p:txBody>
      </p:sp>
      <p:sp>
        <p:nvSpPr>
          <p:cNvPr id="7" name="TextBox 7"/>
          <p:cNvSpPr txBox="1">
            <a:spLocks noChangeArrowheads="1"/>
          </p:cNvSpPr>
          <p:nvPr/>
        </p:nvSpPr>
        <p:spPr bwMode="auto">
          <a:xfrm>
            <a:off x="401638" y="6628372"/>
            <a:ext cx="4827587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GB" sz="900" dirty="0">
                <a:solidFill>
                  <a:srgbClr val="808284"/>
                </a:solidFill>
              </a:rPr>
              <a:t>Company </a:t>
            </a:r>
            <a:r>
              <a:rPr lang="en-GB" sz="900" dirty="0" smtClean="0">
                <a:solidFill>
                  <a:srgbClr val="808284"/>
                </a:solidFill>
              </a:rPr>
              <a:t>Confidential</a:t>
            </a:r>
            <a:endParaRPr lang="en-GB" sz="900" dirty="0">
              <a:solidFill>
                <a:srgbClr val="80828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5874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290" r:id="rId1"/>
    <p:sldLayoutId id="2147490291" r:id="rId2"/>
    <p:sldLayoutId id="2147490292" r:id="rId3"/>
    <p:sldLayoutId id="2147490293" r:id="rId4"/>
    <p:sldLayoutId id="2147490294" r:id="rId5"/>
    <p:sldLayoutId id="2147490295" r:id="rId6"/>
    <p:sldLayoutId id="2147490296" r:id="rId7"/>
    <p:sldLayoutId id="2147490297" r:id="rId8"/>
    <p:sldLayoutId id="2147490298" r:id="rId9"/>
    <p:sldLayoutId id="2147490299" r:id="rId10"/>
    <p:sldLayoutId id="2147490300" r:id="rId11"/>
    <p:sldLayoutId id="2147490301" r:id="rId12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20000"/>
        </a:spcAft>
        <a:buFont typeface="Expert Sans Regular" pitchFamily="34" charset="0"/>
        <a:buChar char="−"/>
        <a:defRPr sz="12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ú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White Title B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3279775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3225" y="1160473"/>
            <a:ext cx="916305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sub title style 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2753" y="1974850"/>
            <a:ext cx="9142413" cy="444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053" name="Line 5"/>
          <p:cNvSpPr>
            <a:spLocks noChangeShapeType="1"/>
          </p:cNvSpPr>
          <p:nvPr/>
        </p:nvSpPr>
        <p:spPr bwMode="auto">
          <a:xfrm>
            <a:off x="527050" y="1028700"/>
            <a:ext cx="9101138" cy="9525"/>
          </a:xfrm>
          <a:prstGeom prst="line">
            <a:avLst/>
          </a:prstGeom>
          <a:noFill/>
          <a:ln w="19050">
            <a:solidFill>
              <a:srgbClr val="80828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2054" name="Text Box 6"/>
          <p:cNvSpPr txBox="1">
            <a:spLocks noChangeArrowheads="1"/>
          </p:cNvSpPr>
          <p:nvPr/>
        </p:nvSpPr>
        <p:spPr bwMode="auto">
          <a:xfrm>
            <a:off x="8534400" y="6613535"/>
            <a:ext cx="1371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A97347BA-D404-484B-9160-3EDF799C3CB9}" type="slidenum">
              <a:rPr lang="en-GB" sz="1000" b="0" smtClean="0">
                <a:latin typeface="Arial" charset="0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GB" sz="1000" b="0" dirty="0" smtClean="0"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128" r:id="rId1"/>
    <p:sldLayoutId id="2147490129" r:id="rId2"/>
    <p:sldLayoutId id="2147490130" r:id="rId3"/>
    <p:sldLayoutId id="2147490131" r:id="rId4"/>
    <p:sldLayoutId id="2147490132" r:id="rId5"/>
    <p:sldLayoutId id="2147490133" r:id="rId6"/>
    <p:sldLayoutId id="2147490134" r:id="rId7"/>
    <p:sldLayoutId id="2147490135" r:id="rId8"/>
    <p:sldLayoutId id="2147490136" r:id="rId9"/>
    <p:sldLayoutId id="2147490137" r:id="rId10"/>
    <p:sldLayoutId id="2147490138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20000"/>
        </a:spcAft>
        <a:buFont typeface="Expert Sans Regular" pitchFamily="34" charset="0"/>
        <a:buChar char="−"/>
        <a:defRPr sz="12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ú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White Title B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3279775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1638" y="1160473"/>
            <a:ext cx="916305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sub title style </a:t>
            </a:r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2753" y="1974850"/>
            <a:ext cx="9142413" cy="444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077" name="Line 5"/>
          <p:cNvSpPr>
            <a:spLocks noChangeShapeType="1"/>
          </p:cNvSpPr>
          <p:nvPr/>
        </p:nvSpPr>
        <p:spPr bwMode="auto">
          <a:xfrm>
            <a:off x="525468" y="1028700"/>
            <a:ext cx="9102725" cy="9525"/>
          </a:xfrm>
          <a:prstGeom prst="line">
            <a:avLst/>
          </a:prstGeom>
          <a:noFill/>
          <a:ln w="19050">
            <a:solidFill>
              <a:srgbClr val="80828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1030" name="Text Box 6"/>
          <p:cNvSpPr txBox="1">
            <a:spLocks noChangeArrowheads="1"/>
          </p:cNvSpPr>
          <p:nvPr/>
        </p:nvSpPr>
        <p:spPr bwMode="auto">
          <a:xfrm>
            <a:off x="8534400" y="6613535"/>
            <a:ext cx="1371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1DB1846A-68D9-412D-AEDC-DB00AABF0444}" type="slidenum">
              <a:rPr lang="en-GB" sz="1000" b="0" smtClean="0">
                <a:solidFill>
                  <a:srgbClr val="808284"/>
                </a:solidFill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GB" sz="1000" b="0" dirty="0" smtClean="0">
              <a:solidFill>
                <a:srgbClr val="808284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160" r:id="rId1"/>
    <p:sldLayoutId id="2147490139" r:id="rId2"/>
    <p:sldLayoutId id="2147490140" r:id="rId3"/>
    <p:sldLayoutId id="2147490141" r:id="rId4"/>
    <p:sldLayoutId id="2147490142" r:id="rId5"/>
    <p:sldLayoutId id="2147490143" r:id="rId6"/>
    <p:sldLayoutId id="2147490144" r:id="rId7"/>
    <p:sldLayoutId id="2147490145" r:id="rId8"/>
    <p:sldLayoutId id="2147490146" r:id="rId9"/>
    <p:sldLayoutId id="2147490147" r:id="rId10"/>
    <p:sldLayoutId id="2147490148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accent2"/>
          </a:solidFill>
          <a:latin typeface="Expert Sans Regular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accent2"/>
          </a:solidFill>
          <a:latin typeface="Expert Sans Regular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accent2"/>
          </a:solidFill>
          <a:latin typeface="Expert Sans Regular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accent2"/>
          </a:solidFill>
          <a:latin typeface="Expert Sans Regular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>
          <a:solidFill>
            <a:schemeClr val="accent2"/>
          </a:solidFill>
          <a:latin typeface="Expert Sans Regular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>
          <a:solidFill>
            <a:schemeClr val="accent2"/>
          </a:solidFill>
          <a:latin typeface="Expert Sans Regular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>
          <a:solidFill>
            <a:schemeClr val="accent2"/>
          </a:solidFill>
          <a:latin typeface="Expert Sans Regular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>
          <a:solidFill>
            <a:schemeClr val="accent2"/>
          </a:solidFill>
          <a:latin typeface="Expert Sans Regular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20000"/>
        </a:spcAft>
        <a:buFont typeface="Expert Sans Regular" pitchFamily="34" charset="0"/>
        <a:buChar char="−"/>
        <a:defRPr sz="12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ú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7" descr="Bar_06_COL_POS [Converted].pn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8" y="6410335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2" y="384185"/>
            <a:ext cx="87344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94" y="1095385"/>
            <a:ext cx="8670925" cy="2155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01" name="Line 32"/>
          <p:cNvSpPr>
            <a:spLocks noChangeShapeType="1"/>
          </p:cNvSpPr>
          <p:nvPr/>
        </p:nvSpPr>
        <p:spPr bwMode="auto">
          <a:xfrm>
            <a:off x="735019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41363" y="6316663"/>
            <a:ext cx="3136900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9E0AE0C-DF2C-47D7-B060-D3E54E228C69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161" r:id="rId1"/>
    <p:sldLayoutId id="2147490162" r:id="rId2"/>
    <p:sldLayoutId id="2147490163" r:id="rId3"/>
    <p:sldLayoutId id="2147490164" r:id="rId4"/>
    <p:sldLayoutId id="2147490165" r:id="rId5"/>
    <p:sldLayoutId id="2147490166" r:id="rId6"/>
    <p:sldLayoutId id="2147490167" r:id="rId7"/>
    <p:sldLayoutId id="2147490168" r:id="rId8"/>
    <p:sldLayoutId id="2147490169" r:id="rId9"/>
    <p:sldLayoutId id="2147490170" r:id="rId10"/>
    <p:sldLayoutId id="2147490171" r:id="rId11"/>
    <p:sldLayoutId id="2147490172" r:id="rId12"/>
    <p:sldLayoutId id="2147490173" r:id="rId13"/>
    <p:sldLayoutId id="2147490174" r:id="rId14"/>
    <p:sldLayoutId id="2147490175" r:id="rId15"/>
    <p:sldLayoutId id="2147490176" r:id="rId16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568325" indent="-3333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858838" indent="-290513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1204913" indent="-3460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5pPr>
      <a:lvl6pPr marL="24606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6pPr>
      <a:lvl7pPr marL="29178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7pPr>
      <a:lvl8pPr marL="33750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8pPr>
      <a:lvl9pPr marL="38322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7" descr="Bar_06_COL_POS [Converted].pn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8" y="6410335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2" y="384185"/>
            <a:ext cx="87344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94" y="1095385"/>
            <a:ext cx="8670925" cy="2155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125" name="Line 32"/>
          <p:cNvSpPr>
            <a:spLocks noChangeShapeType="1"/>
          </p:cNvSpPr>
          <p:nvPr/>
        </p:nvSpPr>
        <p:spPr bwMode="auto">
          <a:xfrm>
            <a:off x="735019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41363" y="6316663"/>
            <a:ext cx="3136900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fontAlgn="base">
              <a:spcBef>
                <a:spcPct val="50000"/>
              </a:spcBef>
              <a:spcAft>
                <a:spcPct val="0"/>
              </a:spcAft>
              <a:defRPr lang="en-US" sz="9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A5C4EC8-A5B1-4BC2-9E22-D9BFD872F495}" type="slidenum">
              <a:rPr lang="en-GB"/>
              <a:pPr>
                <a:defRPr/>
              </a:pPr>
              <a:t>‹#›</a:t>
            </a:fld>
            <a:r>
              <a:rPr lang="en-GB" dirty="0"/>
              <a:t>   |   GID Leadership Meeting|  19</a:t>
            </a:r>
            <a:r>
              <a:rPr lang="en-GB" baseline="30000" dirty="0"/>
              <a:t>th</a:t>
            </a:r>
            <a:r>
              <a:rPr lang="en-GB" dirty="0"/>
              <a:t> April 201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177" r:id="rId1"/>
    <p:sldLayoutId id="2147490178" r:id="rId2"/>
    <p:sldLayoutId id="2147490179" r:id="rId3"/>
    <p:sldLayoutId id="2147490180" r:id="rId4"/>
    <p:sldLayoutId id="2147490181" r:id="rId5"/>
    <p:sldLayoutId id="2147490182" r:id="rId6"/>
    <p:sldLayoutId id="2147490183" r:id="rId7"/>
    <p:sldLayoutId id="2147490184" r:id="rId8"/>
    <p:sldLayoutId id="2147490185" r:id="rId9"/>
    <p:sldLayoutId id="2147490186" r:id="rId10"/>
    <p:sldLayoutId id="2147490187" r:id="rId11"/>
    <p:sldLayoutId id="2147490188" r:id="rId12"/>
    <p:sldLayoutId id="2147490189" r:id="rId13"/>
    <p:sldLayoutId id="2147490190" r:id="rId14"/>
    <p:sldLayoutId id="2147490191" r:id="rId15"/>
    <p:sldLayoutId id="2147490192" r:id="rId16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568325" indent="-3333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858838" indent="-290513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1204913" indent="-3460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5pPr>
      <a:lvl6pPr marL="24606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6pPr>
      <a:lvl7pPr marL="29178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7pPr>
      <a:lvl8pPr marL="33750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8pPr>
      <a:lvl9pPr marL="38322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7" descr="Bar_06_COL_POS [Converted]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8" y="6410335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2" y="384185"/>
            <a:ext cx="87344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title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94" y="1095375"/>
            <a:ext cx="8670925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6149" name="Line 32"/>
          <p:cNvSpPr>
            <a:spLocks noChangeShapeType="1"/>
          </p:cNvSpPr>
          <p:nvPr/>
        </p:nvSpPr>
        <p:spPr bwMode="auto">
          <a:xfrm>
            <a:off x="735019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41363" y="6316663"/>
            <a:ext cx="3136900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14400" rtl="0" fontAlgn="base">
              <a:spcBef>
                <a:spcPct val="50000"/>
              </a:spcBef>
              <a:spcAft>
                <a:spcPct val="0"/>
              </a:spcAft>
              <a:defRPr lang="en-US" sz="9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0C040D52-8094-4B49-B733-F00EAE99AF4A}" type="slidenum">
              <a:rPr/>
              <a:pPr>
                <a:defRPr/>
              </a:pPr>
              <a:t>‹#›</a:t>
            </a:fld>
            <a:r>
              <a:rPr dirty="0"/>
              <a:t>   |   Barclays presentation title  |  30 January 201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193" r:id="rId1"/>
    <p:sldLayoutId id="2147490194" r:id="rId2"/>
    <p:sldLayoutId id="2147490195" r:id="rId3"/>
    <p:sldLayoutId id="2147490196" r:id="rId4"/>
    <p:sldLayoutId id="2147490197" r:id="rId5"/>
    <p:sldLayoutId id="2147490198" r:id="rId6"/>
    <p:sldLayoutId id="2147490199" r:id="rId7"/>
    <p:sldLayoutId id="2147490200" r:id="rId8"/>
    <p:sldLayoutId id="2147490201" r:id="rId9"/>
    <p:sldLayoutId id="2147490202" r:id="rId10"/>
    <p:sldLayoutId id="2147490203" r:id="rId11"/>
    <p:sldLayoutId id="2147490204" r:id="rId12"/>
    <p:sldLayoutId id="2147490205" r:id="rId13"/>
    <p:sldLayoutId id="2147490206" r:id="rId14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568325" indent="-3333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858838" indent="-290513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1204913" indent="-3460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5pPr>
      <a:lvl6pPr marL="1662113" indent="-346075" algn="l" rtl="0" fontAlgn="base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6pPr>
      <a:lvl7pPr marL="2119313" indent="-346075" algn="l" rtl="0" fontAlgn="base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7pPr>
      <a:lvl8pPr marL="2576513" indent="-346075" algn="l" rtl="0" fontAlgn="base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8pPr>
      <a:lvl9pPr marL="3033713" indent="-346075" algn="l" rtl="0" fontAlgn="base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White Title B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18" t="11897" r="1218" b="11897"/>
          <a:stretch>
            <a:fillRect/>
          </a:stretch>
        </p:blipFill>
        <p:spPr bwMode="auto">
          <a:xfrm>
            <a:off x="5" y="9"/>
            <a:ext cx="3080147" cy="77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ext Box 6"/>
          <p:cNvSpPr txBox="1">
            <a:spLocks noChangeArrowheads="1"/>
          </p:cNvSpPr>
          <p:nvPr/>
        </p:nvSpPr>
        <p:spPr bwMode="auto">
          <a:xfrm>
            <a:off x="8533611" y="6613534"/>
            <a:ext cx="1372394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3A952B0E-D0FA-474D-9706-24147C5DD318}" type="slidenum">
              <a:rPr lang="en-GB" sz="1000" b="0" smtClean="0">
                <a:solidFill>
                  <a:srgbClr val="808284"/>
                </a:solidFill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GB" sz="1000" b="0" dirty="0" smtClean="0">
              <a:solidFill>
                <a:srgbClr val="808284"/>
              </a:solidFill>
            </a:endParaRPr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2431" y="1160472"/>
            <a:ext cx="916305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sub title style </a:t>
            </a:r>
          </a:p>
        </p:txBody>
      </p:sp>
      <p:sp>
        <p:nvSpPr>
          <p:cNvPr id="20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2753" y="1974850"/>
            <a:ext cx="9142413" cy="444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6" name="Picture 2" descr="White Title B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White Title BG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84" b="-14384"/>
          <a:stretch/>
        </p:blipFill>
        <p:spPr bwMode="auto">
          <a:xfrm>
            <a:off x="0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Line 5"/>
          <p:cNvSpPr>
            <a:spLocks noChangeShapeType="1"/>
          </p:cNvSpPr>
          <p:nvPr/>
        </p:nvSpPr>
        <p:spPr bwMode="auto">
          <a:xfrm>
            <a:off x="401638" y="744465"/>
            <a:ext cx="9101138" cy="0"/>
          </a:xfrm>
          <a:prstGeom prst="line">
            <a:avLst/>
          </a:prstGeom>
          <a:noFill/>
          <a:ln w="19050">
            <a:solidFill>
              <a:srgbClr val="80828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11" name="TextBox 7"/>
          <p:cNvSpPr txBox="1">
            <a:spLocks noChangeArrowheads="1"/>
          </p:cNvSpPr>
          <p:nvPr/>
        </p:nvSpPr>
        <p:spPr bwMode="auto">
          <a:xfrm>
            <a:off x="401638" y="6628372"/>
            <a:ext cx="4827587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GB" sz="900" dirty="0"/>
              <a:t>Company </a:t>
            </a:r>
            <a:r>
              <a:rPr lang="en-GB" sz="900" dirty="0" smtClean="0"/>
              <a:t>Confidential</a:t>
            </a: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1147307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208" r:id="rId1"/>
    <p:sldLayoutId id="2147490209" r:id="rId2"/>
    <p:sldLayoutId id="2147490210" r:id="rId3"/>
    <p:sldLayoutId id="2147490211" r:id="rId4"/>
    <p:sldLayoutId id="2147490212" r:id="rId5"/>
    <p:sldLayoutId id="2147490213" r:id="rId6"/>
    <p:sldLayoutId id="2147490214" r:id="rId7"/>
    <p:sldLayoutId id="2147490215" r:id="rId8"/>
    <p:sldLayoutId id="2147490216" r:id="rId9"/>
    <p:sldLayoutId id="2147490217" r:id="rId10"/>
    <p:sldLayoutId id="2147490218" r:id="rId11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20000"/>
        </a:spcAft>
        <a:buFont typeface="Expert Sans Regular" pitchFamily="34" charset="0"/>
        <a:buChar char="−"/>
        <a:defRPr sz="12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ú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Bar_06_COL_POS [Converted].pn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7" y="6410333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2" y="384183"/>
            <a:ext cx="87344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tit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93" y="1095375"/>
            <a:ext cx="8670925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9" name="Line 32"/>
          <p:cNvSpPr>
            <a:spLocks noChangeShapeType="1"/>
          </p:cNvSpPr>
          <p:nvPr/>
        </p:nvSpPr>
        <p:spPr bwMode="auto">
          <a:xfrm>
            <a:off x="735017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900" b="0" dirty="0" smtClean="0">
              <a:solidFill>
                <a:srgbClr val="00AE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606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220" r:id="rId1"/>
    <p:sldLayoutId id="2147490221" r:id="rId2"/>
    <p:sldLayoutId id="2147490222" r:id="rId3"/>
    <p:sldLayoutId id="2147490223" r:id="rId4"/>
    <p:sldLayoutId id="2147490224" r:id="rId5"/>
    <p:sldLayoutId id="2147490225" r:id="rId6"/>
    <p:sldLayoutId id="2147490226" r:id="rId7"/>
    <p:sldLayoutId id="2147490227" r:id="rId8"/>
    <p:sldLayoutId id="2147490228" r:id="rId9"/>
    <p:sldLayoutId id="2147490229" r:id="rId10"/>
    <p:sldLayoutId id="2147490230" r:id="rId11"/>
    <p:sldLayoutId id="2147490231" r:id="rId12"/>
    <p:sldLayoutId id="2147490232" r:id="rId13"/>
    <p:sldLayoutId id="2147490233" r:id="rId14"/>
    <p:sldLayoutId id="2147490234" r:id="rId15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568325" indent="-3333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858838" indent="-290513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1204913" indent="-3460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5pPr>
      <a:lvl6pPr marL="24606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6pPr>
      <a:lvl7pPr marL="29178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7pPr>
      <a:lvl8pPr marL="33750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8pPr>
      <a:lvl9pPr marL="38322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hite Title B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3279775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3225" y="1160473"/>
            <a:ext cx="916305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sub title style 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2753" y="1974850"/>
            <a:ext cx="9142413" cy="444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0" name="Text Box 6"/>
          <p:cNvSpPr txBox="1">
            <a:spLocks noChangeArrowheads="1"/>
          </p:cNvSpPr>
          <p:nvPr/>
        </p:nvSpPr>
        <p:spPr bwMode="auto">
          <a:xfrm>
            <a:off x="8534400" y="6613535"/>
            <a:ext cx="1371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174BB9EC-E004-4F94-8034-BB5273A71642}" type="slidenum">
              <a:rPr lang="en-GB" sz="1000" b="0" smtClean="0">
                <a:solidFill>
                  <a:srgbClr val="808284"/>
                </a:solidFill>
                <a:latin typeface="Arial" charset="0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GB" sz="1000" b="0" dirty="0" smtClean="0">
              <a:solidFill>
                <a:srgbClr val="808284"/>
              </a:solidFill>
              <a:latin typeface="Arial" charset="0"/>
            </a:endParaRPr>
          </a:p>
        </p:txBody>
      </p:sp>
      <p:pic>
        <p:nvPicPr>
          <p:cNvPr id="7" name="Picture 2" descr="White Title B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White Title BG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84" b="-14384"/>
          <a:stretch/>
        </p:blipFill>
        <p:spPr bwMode="auto">
          <a:xfrm>
            <a:off x="0" y="1"/>
            <a:ext cx="3019644" cy="1001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Line 5"/>
          <p:cNvSpPr>
            <a:spLocks noChangeShapeType="1"/>
          </p:cNvSpPr>
          <p:nvPr/>
        </p:nvSpPr>
        <p:spPr bwMode="auto">
          <a:xfrm>
            <a:off x="401638" y="744465"/>
            <a:ext cx="9101138" cy="0"/>
          </a:xfrm>
          <a:prstGeom prst="line">
            <a:avLst/>
          </a:prstGeom>
          <a:noFill/>
          <a:ln w="19050">
            <a:solidFill>
              <a:srgbClr val="80828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14" name="TextBox 7"/>
          <p:cNvSpPr txBox="1">
            <a:spLocks noChangeArrowheads="1"/>
          </p:cNvSpPr>
          <p:nvPr/>
        </p:nvSpPr>
        <p:spPr bwMode="auto">
          <a:xfrm>
            <a:off x="401638" y="6628372"/>
            <a:ext cx="4827587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GB" sz="900" dirty="0"/>
              <a:t>Company </a:t>
            </a:r>
            <a:r>
              <a:rPr lang="en-GB" sz="900" dirty="0" smtClean="0"/>
              <a:t>Confidential</a:t>
            </a: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4265090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236" r:id="rId1"/>
    <p:sldLayoutId id="2147490237" r:id="rId2"/>
    <p:sldLayoutId id="2147490238" r:id="rId3"/>
    <p:sldLayoutId id="2147490239" r:id="rId4"/>
    <p:sldLayoutId id="2147490240" r:id="rId5"/>
    <p:sldLayoutId id="2147490241" r:id="rId6"/>
    <p:sldLayoutId id="2147490242" r:id="rId7"/>
    <p:sldLayoutId id="2147490243" r:id="rId8"/>
    <p:sldLayoutId id="2147490244" r:id="rId9"/>
    <p:sldLayoutId id="2147490245" r:id="rId10"/>
    <p:sldLayoutId id="2147490246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Expert Sans Regular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20000"/>
        </a:spcAft>
        <a:buFont typeface="Expert Sans Regular" pitchFamily="34" charset="0"/>
        <a:buChar char="−"/>
        <a:defRPr sz="12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Font typeface="Wingdings" pitchFamily="2" charset="2"/>
        <a:buChar char="ú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20000"/>
        </a:spcAft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5.jpeg"/><Relationship Id="rId18" Type="http://schemas.openxmlformats.org/officeDocument/2006/relationships/image" Target="../media/image2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8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jpeg"/><Relationship Id="rId19" Type="http://schemas.openxmlformats.org/officeDocument/2006/relationships/image" Target="../media/image21.png"/><Relationship Id="rId4" Type="http://schemas.openxmlformats.org/officeDocument/2006/relationships/image" Target="../media/image6.jpe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2762700" y="202983"/>
            <a:ext cx="6884326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PROPOSED STATE</a:t>
            </a:r>
            <a:endParaRPr lang="en-US" sz="2400" b="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417850" y="1887411"/>
            <a:ext cx="932658" cy="622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912813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defTabSz="912813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defTabSz="912813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defTabSz="912813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defTabSz="912813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278063" indent="3175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735263" indent="3175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192463" indent="3175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649663" indent="3175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2950" y="1003998"/>
            <a:ext cx="952500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 bwMode="auto">
          <a:xfrm>
            <a:off x="2165799" y="902762"/>
            <a:ext cx="1079876" cy="1240802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anchor="ctr"/>
          <a:lstStyle/>
          <a:p>
            <a:pPr algn="ctr" defTabSz="1198197">
              <a:defRPr/>
            </a:pPr>
            <a:endParaRPr lang="en-US" kern="0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pic>
        <p:nvPicPr>
          <p:cNvPr id="10" name="Picture 8" descr="http://idroot.net/wp-content/uploads/2015/03/jenkins-logo.jpe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3948" y="1186880"/>
            <a:ext cx="1993489" cy="868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160608" y="2384542"/>
            <a:ext cx="1575202" cy="42330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 Code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100639" y="2384100"/>
            <a:ext cx="1828800" cy="42374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</a:t>
            </a:r>
          </a:p>
        </p:txBody>
      </p:sp>
      <p:pic>
        <p:nvPicPr>
          <p:cNvPr id="13" name="Picture 4" descr="http://icons.iconarchive.com/icons/oxygen-icons.org/oxygen/256/Places-repository-ico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8748" y="1011562"/>
            <a:ext cx="402011" cy="402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Elbow Connector 14"/>
          <p:cNvCxnSpPr>
            <a:stCxn id="78" idx="3"/>
          </p:cNvCxnSpPr>
          <p:nvPr/>
        </p:nvCxnSpPr>
        <p:spPr>
          <a:xfrm flipH="1">
            <a:off x="588508" y="1580063"/>
            <a:ext cx="8243741" cy="1638667"/>
          </a:xfrm>
          <a:prstGeom prst="bentConnector3">
            <a:avLst>
              <a:gd name="adj1" fmla="val -2773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9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8446" y="4027451"/>
            <a:ext cx="1349669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4" descr="http://icons.iconarchive.com/icons/oxygen-icons.org/oxygen/256/Places-repository-ico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4375" y="3602454"/>
            <a:ext cx="402011" cy="402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Straight Connector 21"/>
          <p:cNvCxnSpPr/>
          <p:nvPr/>
        </p:nvCxnSpPr>
        <p:spPr>
          <a:xfrm>
            <a:off x="569458" y="3172653"/>
            <a:ext cx="11960" cy="105505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588508" y="4227710"/>
            <a:ext cx="2657167" cy="929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7069962" y="2465814"/>
            <a:ext cx="1465006" cy="35487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de Analysis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Picture 18" descr="https://www.massivecraft.com/wp-content/uploads/2014/04/servers-icon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9861" y="3718657"/>
            <a:ext cx="1001047" cy="1001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5"/>
          <p:cNvSpPr/>
          <p:nvPr/>
        </p:nvSpPr>
        <p:spPr>
          <a:xfrm>
            <a:off x="7359861" y="5043710"/>
            <a:ext cx="1846007" cy="54384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CTURE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Picture 20" descr="http://www.snc-blog.com/wp-content/uploads/image/Nolio.jp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5899" y="4243508"/>
            <a:ext cx="1850561" cy="487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" name="Straight Arrow Connector 27"/>
          <p:cNvCxnSpPr/>
          <p:nvPr/>
        </p:nvCxnSpPr>
        <p:spPr>
          <a:xfrm>
            <a:off x="4644315" y="4196531"/>
            <a:ext cx="533400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 flipV="1">
            <a:off x="6993193" y="4243508"/>
            <a:ext cx="304800" cy="1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5280759" y="5031870"/>
            <a:ext cx="1465006" cy="5334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OUS DEPLOYMENT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095377" y="5054157"/>
            <a:ext cx="1846007" cy="5334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NARY ARTIFACT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3" name="Straight Arrow Connector 32"/>
          <p:cNvCxnSpPr>
            <a:endCxn id="60" idx="1"/>
          </p:cNvCxnSpPr>
          <p:nvPr/>
        </p:nvCxnSpPr>
        <p:spPr>
          <a:xfrm>
            <a:off x="1399799" y="1562893"/>
            <a:ext cx="803355" cy="9745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/>
        </p:nvSpPr>
        <p:spPr>
          <a:xfrm>
            <a:off x="217758" y="4906516"/>
            <a:ext cx="2533650" cy="164198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     Reusable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     Scalable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     Less maintenance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     Better governance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    Extendable plugin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60608" y="4468828"/>
            <a:ext cx="205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DVANTAGES</a:t>
            </a:r>
          </a:p>
        </p:txBody>
      </p:sp>
      <p:pic>
        <p:nvPicPr>
          <p:cNvPr id="37" name="Picture 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76" y="5004576"/>
            <a:ext cx="338138" cy="316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10" descr="http://gpssystems.net/wp-content/uploads/2011/02/business-software-scalability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76" y="5281240"/>
            <a:ext cx="338138" cy="306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1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77" y="5523908"/>
            <a:ext cx="338138" cy="27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13" descr="http://www.aascuglobalchallenges.org/assets/GC_icons_large/governance-icon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76" y="5828708"/>
            <a:ext cx="330542" cy="33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7" descr="http://cdn2.hubspot.net/hub/350157/file-1146959894-jpg/plugin-cobalt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77" y="6116628"/>
            <a:ext cx="310943" cy="307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2" name="Straight Arrow Connector 41"/>
          <p:cNvCxnSpPr/>
          <p:nvPr/>
        </p:nvCxnSpPr>
        <p:spPr>
          <a:xfrm>
            <a:off x="3293444" y="1553491"/>
            <a:ext cx="724937" cy="9402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7108" y="3903568"/>
            <a:ext cx="8096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Rectangle 44"/>
          <p:cNvSpPr/>
          <p:nvPr/>
        </p:nvSpPr>
        <p:spPr bwMode="auto">
          <a:xfrm>
            <a:off x="7294108" y="3652904"/>
            <a:ext cx="1905000" cy="1102953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anchor="ctr"/>
          <a:lstStyle/>
          <a:p>
            <a:pPr algn="ctr" defTabSz="1198197">
              <a:defRPr/>
            </a:pPr>
            <a:endParaRPr lang="en-US" kern="0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pic>
        <p:nvPicPr>
          <p:cNvPr id="48" name="Picture 4" descr="http://icons.iconarchive.com/icons/oxygen-icons.org/oxygen/256/Places-repository-ico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0717" y="6399717"/>
            <a:ext cx="402011" cy="402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Box 48"/>
          <p:cNvSpPr txBox="1"/>
          <p:nvPr/>
        </p:nvSpPr>
        <p:spPr>
          <a:xfrm>
            <a:off x="7293735" y="6432396"/>
            <a:ext cx="24973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Centralized  system</a:t>
            </a:r>
            <a:endParaRPr lang="en-US" b="1" dirty="0"/>
          </a:p>
        </p:txBody>
      </p:sp>
      <p:sp>
        <p:nvSpPr>
          <p:cNvPr id="50" name="TextBox 49"/>
          <p:cNvSpPr txBox="1"/>
          <p:nvPr/>
        </p:nvSpPr>
        <p:spPr>
          <a:xfrm>
            <a:off x="3252302" y="1073240"/>
            <a:ext cx="99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RIGGER BUILD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236821" y="1030719"/>
            <a:ext cx="10564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OMMIT CODE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5" name="Picture 5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089" y="1766116"/>
            <a:ext cx="1022586" cy="30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Rectangle 55"/>
          <p:cNvSpPr/>
          <p:nvPr/>
        </p:nvSpPr>
        <p:spPr bwMode="auto">
          <a:xfrm>
            <a:off x="204826" y="878342"/>
            <a:ext cx="1180063" cy="1267599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anchor="ctr"/>
          <a:lstStyle/>
          <a:p>
            <a:pPr algn="ctr" defTabSz="1198197">
              <a:defRPr/>
            </a:pPr>
            <a:endParaRPr lang="en-US" kern="0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pic>
        <p:nvPicPr>
          <p:cNvPr id="57" name="Picture 13" descr="https://www.rosehosting.com/blog/wp-content/uploads/2014/05/how-to-install-and-set-up-git-on-ubuntu-14-04-lts-vps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026" y="1008432"/>
            <a:ext cx="604109" cy="604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203154" y="1432418"/>
            <a:ext cx="944962" cy="280440"/>
          </a:xfrm>
          <a:prstGeom prst="rect">
            <a:avLst/>
          </a:prstGeom>
        </p:spPr>
      </p:pic>
      <p:sp>
        <p:nvSpPr>
          <p:cNvPr id="65" name="TextBox 64"/>
          <p:cNvSpPr txBox="1"/>
          <p:nvPr/>
        </p:nvSpPr>
        <p:spPr>
          <a:xfrm>
            <a:off x="2361859" y="1766510"/>
            <a:ext cx="7328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b="0" dirty="0" smtClean="0"/>
              <a:t>Ant/Ivy</a:t>
            </a:r>
            <a:endParaRPr lang="en-IN" sz="1400" b="0" dirty="0"/>
          </a:p>
        </p:txBody>
      </p:sp>
      <p:sp>
        <p:nvSpPr>
          <p:cNvPr id="66" name="Rectangle 65"/>
          <p:cNvSpPr/>
          <p:nvPr/>
        </p:nvSpPr>
        <p:spPr>
          <a:xfrm>
            <a:off x="2027801" y="2395215"/>
            <a:ext cx="1201239" cy="42330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 System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/>
          <p:nvPr/>
        </p:nvSpPr>
        <p:spPr bwMode="auto">
          <a:xfrm>
            <a:off x="4100639" y="930574"/>
            <a:ext cx="1916798" cy="1240802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anchor="ctr"/>
          <a:lstStyle/>
          <a:p>
            <a:pPr algn="ctr" defTabSz="1198197">
              <a:defRPr/>
            </a:pPr>
            <a:endParaRPr lang="en-US" kern="0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pic>
        <p:nvPicPr>
          <p:cNvPr id="72" name="Picture 18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4265" y="1460141"/>
            <a:ext cx="1676400" cy="647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" name="Rectangle 77"/>
          <p:cNvSpPr/>
          <p:nvPr/>
        </p:nvSpPr>
        <p:spPr bwMode="auto">
          <a:xfrm>
            <a:off x="6915451" y="959662"/>
            <a:ext cx="1916798" cy="1240802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anchor="ctr"/>
          <a:lstStyle/>
          <a:p>
            <a:pPr algn="ctr" defTabSz="1198197">
              <a:defRPr/>
            </a:pPr>
            <a:endParaRPr lang="en-US" kern="0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cxnSp>
        <p:nvCxnSpPr>
          <p:cNvPr id="84" name="Straight Arrow Connector 83"/>
          <p:cNvCxnSpPr>
            <a:stCxn id="10" idx="3"/>
          </p:cNvCxnSpPr>
          <p:nvPr/>
        </p:nvCxnSpPr>
        <p:spPr>
          <a:xfrm flipV="1">
            <a:off x="6017437" y="1612541"/>
            <a:ext cx="895671" cy="848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89"/>
          <p:cNvSpPr/>
          <p:nvPr/>
        </p:nvSpPr>
        <p:spPr bwMode="auto">
          <a:xfrm>
            <a:off x="3226447" y="3568083"/>
            <a:ext cx="1417868" cy="1081076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anchor="ctr"/>
          <a:lstStyle/>
          <a:p>
            <a:pPr algn="ctr" defTabSz="1198197">
              <a:defRPr/>
            </a:pPr>
            <a:endParaRPr lang="en-US" kern="0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pic>
        <p:nvPicPr>
          <p:cNvPr id="91" name="Picture 4" descr="http://icons.iconarchive.com/icons/oxygen-icons.org/oxygen/256/Places-repository-ico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619" y="1071451"/>
            <a:ext cx="402011" cy="402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4" descr="http://icons.iconarchive.com/icons/oxygen-icons.org/oxygen/256/Places-repository-ico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2844" y="1084930"/>
            <a:ext cx="402011" cy="402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Rectangle 92"/>
          <p:cNvSpPr/>
          <p:nvPr/>
        </p:nvSpPr>
        <p:spPr bwMode="auto">
          <a:xfrm>
            <a:off x="5177715" y="3515055"/>
            <a:ext cx="1752600" cy="1240802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anchor="ctr"/>
          <a:lstStyle/>
          <a:p>
            <a:pPr algn="ctr" defTabSz="1198197">
              <a:defRPr/>
            </a:pPr>
            <a:endParaRPr lang="en-US" kern="0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pic>
        <p:nvPicPr>
          <p:cNvPr id="94" name="Picture 93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093357" y="3688783"/>
            <a:ext cx="695004" cy="463336"/>
          </a:xfrm>
          <a:prstGeom prst="rect">
            <a:avLst/>
          </a:prstGeom>
        </p:spPr>
      </p:pic>
      <p:pic>
        <p:nvPicPr>
          <p:cNvPr id="95" name="Picture 4" descr="http://icons.iconarchive.com/icons/oxygen-icons.org/oxygen/256/Places-repository-ico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9407" y="3733250"/>
            <a:ext cx="402011" cy="402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21736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AutoShape 2" descr="Image result for apache mave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4921" y="4060556"/>
            <a:ext cx="697425" cy="464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51647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rcorp resource review 1st Dec V0 5">
  <a:themeElements>
    <a:clrScheme name="1_Default Design 15">
      <a:dk1>
        <a:srgbClr val="808284"/>
      </a:dk1>
      <a:lt1>
        <a:srgbClr val="FFFFFF"/>
      </a:lt1>
      <a:dk2>
        <a:srgbClr val="00A4E8"/>
      </a:dk2>
      <a:lt2>
        <a:srgbClr val="E2E3E4"/>
      </a:lt2>
      <a:accent1>
        <a:srgbClr val="8ED8F8"/>
      </a:accent1>
      <a:accent2>
        <a:srgbClr val="003A63"/>
      </a:accent2>
      <a:accent3>
        <a:srgbClr val="FFFFFF"/>
      </a:accent3>
      <a:accent4>
        <a:srgbClr val="6C6E70"/>
      </a:accent4>
      <a:accent5>
        <a:srgbClr val="C6E9FB"/>
      </a:accent5>
      <a:accent6>
        <a:srgbClr val="003459"/>
      </a:accent6>
      <a:hlink>
        <a:srgbClr val="00C0F3"/>
      </a:hlink>
      <a:folHlink>
        <a:srgbClr val="5BCBF5"/>
      </a:folHlink>
    </a:clrScheme>
    <a:fontScheme name="1_Default Design">
      <a:majorFont>
        <a:latin typeface="Expert Sans Regular"/>
        <a:ea typeface=""/>
        <a:cs typeface="Arial"/>
      </a:majorFont>
      <a:minorFont>
        <a:latin typeface="Expert Sans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xpert Sans Regular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xpert Sans Regular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808284"/>
        </a:dk1>
        <a:lt1>
          <a:srgbClr val="FFFFFF"/>
        </a:lt1>
        <a:dk2>
          <a:srgbClr val="003A63"/>
        </a:dk2>
        <a:lt2>
          <a:srgbClr val="8ED8F8"/>
        </a:lt2>
        <a:accent1>
          <a:srgbClr val="00A4E8"/>
        </a:accent1>
        <a:accent2>
          <a:srgbClr val="00528A"/>
        </a:accent2>
        <a:accent3>
          <a:srgbClr val="AAAEB7"/>
        </a:accent3>
        <a:accent4>
          <a:srgbClr val="DADADA"/>
        </a:accent4>
        <a:accent5>
          <a:srgbClr val="AACFF2"/>
        </a:accent5>
        <a:accent6>
          <a:srgbClr val="00497D"/>
        </a:accent6>
        <a:hlink>
          <a:srgbClr val="F58025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C0F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AEDC"/>
        </a:accent6>
        <a:hlink>
          <a:srgbClr val="00A4E8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3A6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3459"/>
        </a:accent6>
        <a:hlink>
          <a:srgbClr val="00C0F3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2_Default Design">
  <a:themeElements>
    <a:clrScheme name="21_Default Design 15">
      <a:dk1>
        <a:srgbClr val="808284"/>
      </a:dk1>
      <a:lt1>
        <a:srgbClr val="FFFFFF"/>
      </a:lt1>
      <a:dk2>
        <a:srgbClr val="00A4E8"/>
      </a:dk2>
      <a:lt2>
        <a:srgbClr val="E2E3E4"/>
      </a:lt2>
      <a:accent1>
        <a:srgbClr val="8ED8F8"/>
      </a:accent1>
      <a:accent2>
        <a:srgbClr val="003A63"/>
      </a:accent2>
      <a:accent3>
        <a:srgbClr val="FFFFFF"/>
      </a:accent3>
      <a:accent4>
        <a:srgbClr val="6C6E70"/>
      </a:accent4>
      <a:accent5>
        <a:srgbClr val="C6E9FB"/>
      </a:accent5>
      <a:accent6>
        <a:srgbClr val="003459"/>
      </a:accent6>
      <a:hlink>
        <a:srgbClr val="00C0F3"/>
      </a:hlink>
      <a:folHlink>
        <a:srgbClr val="5BCBF5"/>
      </a:folHlink>
    </a:clrScheme>
    <a:fontScheme name="21_Default Design">
      <a:majorFont>
        <a:latin typeface="Expert Sans Regular"/>
        <a:ea typeface=""/>
        <a:cs typeface="Arial"/>
      </a:majorFont>
      <a:minorFont>
        <a:latin typeface="Expert Sans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3">
        <a:dk1>
          <a:srgbClr val="808284"/>
        </a:dk1>
        <a:lt1>
          <a:srgbClr val="FFFFFF"/>
        </a:lt1>
        <a:dk2>
          <a:srgbClr val="003A63"/>
        </a:dk2>
        <a:lt2>
          <a:srgbClr val="8ED8F8"/>
        </a:lt2>
        <a:accent1>
          <a:srgbClr val="00A4E8"/>
        </a:accent1>
        <a:accent2>
          <a:srgbClr val="00528A"/>
        </a:accent2>
        <a:accent3>
          <a:srgbClr val="AAAEB7"/>
        </a:accent3>
        <a:accent4>
          <a:srgbClr val="DADADA"/>
        </a:accent4>
        <a:accent5>
          <a:srgbClr val="AACFF2"/>
        </a:accent5>
        <a:accent6>
          <a:srgbClr val="00497D"/>
        </a:accent6>
        <a:hlink>
          <a:srgbClr val="F58025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4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C0F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AEDC"/>
        </a:accent6>
        <a:hlink>
          <a:srgbClr val="00A4E8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15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3A6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3459"/>
        </a:accent6>
        <a:hlink>
          <a:srgbClr val="00C0F3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2_LAN039_Barclays_Template_021612_7c">
  <a:themeElements>
    <a:clrScheme name="Barclays_Template">
      <a:dk1>
        <a:srgbClr val="000000"/>
      </a:dk1>
      <a:lt1>
        <a:srgbClr val="FFFFFF"/>
      </a:lt1>
      <a:dk2>
        <a:srgbClr val="969696"/>
      </a:dk2>
      <a:lt2>
        <a:srgbClr val="00AEEF"/>
      </a:lt2>
      <a:accent1>
        <a:srgbClr val="FBDB81"/>
      </a:accent1>
      <a:accent2>
        <a:srgbClr val="EC8A40"/>
      </a:accent2>
      <a:accent3>
        <a:srgbClr val="CB5151"/>
      </a:accent3>
      <a:accent4>
        <a:srgbClr val="00395C"/>
      </a:accent4>
      <a:accent5>
        <a:srgbClr val="406B85"/>
      </a:accent5>
      <a:accent6>
        <a:srgbClr val="809CAE"/>
      </a:accent6>
      <a:hlink>
        <a:srgbClr val="007882"/>
      </a:hlink>
      <a:folHlink>
        <a:srgbClr val="143C78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Slide master 1 1">
        <a:dk1>
          <a:srgbClr val="000000"/>
        </a:dk1>
        <a:lt1>
          <a:srgbClr val="FFFFFF"/>
        </a:lt1>
        <a:dk2>
          <a:srgbClr val="0F90C3"/>
        </a:dk2>
        <a:lt2>
          <a:srgbClr val="00AEEF"/>
        </a:lt2>
        <a:accent1>
          <a:srgbClr val="4D595F"/>
        </a:accent1>
        <a:accent2>
          <a:srgbClr val="00A9B1"/>
        </a:accent2>
        <a:accent3>
          <a:srgbClr val="FFFFFF"/>
        </a:accent3>
        <a:accent4>
          <a:srgbClr val="000000"/>
        </a:accent4>
        <a:accent5>
          <a:srgbClr val="B2B5B6"/>
        </a:accent5>
        <a:accent6>
          <a:srgbClr val="0099A0"/>
        </a:accent6>
        <a:hlink>
          <a:srgbClr val="007882"/>
        </a:hlink>
        <a:folHlink>
          <a:srgbClr val="143C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3_LAN039_Barclays_Template_021612_7c">
  <a:themeElements>
    <a:clrScheme name="Barclays_Template">
      <a:dk1>
        <a:srgbClr val="000000"/>
      </a:dk1>
      <a:lt1>
        <a:srgbClr val="FFFFFF"/>
      </a:lt1>
      <a:dk2>
        <a:srgbClr val="969696"/>
      </a:dk2>
      <a:lt2>
        <a:srgbClr val="00AEEF"/>
      </a:lt2>
      <a:accent1>
        <a:srgbClr val="FBDB81"/>
      </a:accent1>
      <a:accent2>
        <a:srgbClr val="EC8A40"/>
      </a:accent2>
      <a:accent3>
        <a:srgbClr val="CB5151"/>
      </a:accent3>
      <a:accent4>
        <a:srgbClr val="00395C"/>
      </a:accent4>
      <a:accent5>
        <a:srgbClr val="406B85"/>
      </a:accent5>
      <a:accent6>
        <a:srgbClr val="809CAE"/>
      </a:accent6>
      <a:hlink>
        <a:srgbClr val="007882"/>
      </a:hlink>
      <a:folHlink>
        <a:srgbClr val="143C78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</a:spPr>
      <a:bodyPr lIns="48043" tIns="61007" rIns="48043" bIns="61007" anchor="ctr"/>
      <a:lstStyle>
        <a:defPPr algn="ctr" defTabSz="611188">
          <a:defRPr sz="1100" dirty="0" smtClean="0">
            <a:solidFill>
              <a:srgbClr val="FFFFFF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Slide master 1 1">
        <a:dk1>
          <a:srgbClr val="000000"/>
        </a:dk1>
        <a:lt1>
          <a:srgbClr val="FFFFFF"/>
        </a:lt1>
        <a:dk2>
          <a:srgbClr val="0F90C3"/>
        </a:dk2>
        <a:lt2>
          <a:srgbClr val="00AEEF"/>
        </a:lt2>
        <a:accent1>
          <a:srgbClr val="4D595F"/>
        </a:accent1>
        <a:accent2>
          <a:srgbClr val="00A9B1"/>
        </a:accent2>
        <a:accent3>
          <a:srgbClr val="FFFFFF"/>
        </a:accent3>
        <a:accent4>
          <a:srgbClr val="000000"/>
        </a:accent4>
        <a:accent5>
          <a:srgbClr val="B2B5B6"/>
        </a:accent5>
        <a:accent6>
          <a:srgbClr val="0099A0"/>
        </a:accent6>
        <a:hlink>
          <a:srgbClr val="007882"/>
        </a:hlink>
        <a:folHlink>
          <a:srgbClr val="143C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7_LAN039_Barclays_Template_021612_7c">
  <a:themeElements>
    <a:clrScheme name="Slide master 1 1">
      <a:dk1>
        <a:srgbClr val="000000"/>
      </a:dk1>
      <a:lt1>
        <a:srgbClr val="FFFFFF"/>
      </a:lt1>
      <a:dk2>
        <a:srgbClr val="0F90C3"/>
      </a:dk2>
      <a:lt2>
        <a:srgbClr val="00AEEF"/>
      </a:lt2>
      <a:accent1>
        <a:srgbClr val="4D595F"/>
      </a:accent1>
      <a:accent2>
        <a:srgbClr val="00A9B1"/>
      </a:accent2>
      <a:accent3>
        <a:srgbClr val="FFFFFF"/>
      </a:accent3>
      <a:accent4>
        <a:srgbClr val="000000"/>
      </a:accent4>
      <a:accent5>
        <a:srgbClr val="B2B5B6"/>
      </a:accent5>
      <a:accent6>
        <a:srgbClr val="0099A0"/>
      </a:accent6>
      <a:hlink>
        <a:srgbClr val="007882"/>
      </a:hlink>
      <a:folHlink>
        <a:srgbClr val="143C78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lIns="0" tIns="0" rIns="0" bIns="0">
        <a:spAutoFit/>
      </a:bodyPr>
      <a:lstStyle>
        <a:defPPr eaLnBrk="1" hangingPunct="1">
          <a:defRPr sz="700" dirty="0" smtClean="0">
            <a:solidFill>
              <a:schemeClr val="tx1"/>
            </a:solidFill>
            <a:latin typeface="Expert Sans Regular" pitchFamily="34" charset="0"/>
          </a:defRPr>
        </a:defPPr>
      </a:lstStyle>
    </a:txDef>
  </a:objectDefaults>
  <a:extraClrSchemeLst>
    <a:extraClrScheme>
      <a:clrScheme name="Slide master 1 1">
        <a:dk1>
          <a:srgbClr val="000000"/>
        </a:dk1>
        <a:lt1>
          <a:srgbClr val="FFFFFF"/>
        </a:lt1>
        <a:dk2>
          <a:srgbClr val="0F90C3"/>
        </a:dk2>
        <a:lt2>
          <a:srgbClr val="00AEEF"/>
        </a:lt2>
        <a:accent1>
          <a:srgbClr val="4D595F"/>
        </a:accent1>
        <a:accent2>
          <a:srgbClr val="00A9B1"/>
        </a:accent2>
        <a:accent3>
          <a:srgbClr val="FFFFFF"/>
        </a:accent3>
        <a:accent4>
          <a:srgbClr val="000000"/>
        </a:accent4>
        <a:accent5>
          <a:srgbClr val="B2B5B6"/>
        </a:accent5>
        <a:accent6>
          <a:srgbClr val="0099A0"/>
        </a:accent6>
        <a:hlink>
          <a:srgbClr val="007882"/>
        </a:hlink>
        <a:folHlink>
          <a:srgbClr val="143C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2_Barcorp resource review 1st Dec V0 5">
  <a:themeElements>
    <a:clrScheme name="1_Default Design 15">
      <a:dk1>
        <a:srgbClr val="808284"/>
      </a:dk1>
      <a:lt1>
        <a:srgbClr val="FFFFFF"/>
      </a:lt1>
      <a:dk2>
        <a:srgbClr val="00A4E8"/>
      </a:dk2>
      <a:lt2>
        <a:srgbClr val="E2E3E4"/>
      </a:lt2>
      <a:accent1>
        <a:srgbClr val="8ED8F8"/>
      </a:accent1>
      <a:accent2>
        <a:srgbClr val="003A63"/>
      </a:accent2>
      <a:accent3>
        <a:srgbClr val="FFFFFF"/>
      </a:accent3>
      <a:accent4>
        <a:srgbClr val="6C6E70"/>
      </a:accent4>
      <a:accent5>
        <a:srgbClr val="C6E9FB"/>
      </a:accent5>
      <a:accent6>
        <a:srgbClr val="003459"/>
      </a:accent6>
      <a:hlink>
        <a:srgbClr val="00C0F3"/>
      </a:hlink>
      <a:folHlink>
        <a:srgbClr val="5BCBF5"/>
      </a:folHlink>
    </a:clrScheme>
    <a:fontScheme name="1_Default Design">
      <a:majorFont>
        <a:latin typeface="Expert Sans Regular"/>
        <a:ea typeface=""/>
        <a:cs typeface="Arial"/>
      </a:majorFont>
      <a:minorFont>
        <a:latin typeface="Expert Sans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xpert Sans Regular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xpert Sans Regular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808284"/>
        </a:dk1>
        <a:lt1>
          <a:srgbClr val="FFFFFF"/>
        </a:lt1>
        <a:dk2>
          <a:srgbClr val="003A63"/>
        </a:dk2>
        <a:lt2>
          <a:srgbClr val="8ED8F8"/>
        </a:lt2>
        <a:accent1>
          <a:srgbClr val="00A4E8"/>
        </a:accent1>
        <a:accent2>
          <a:srgbClr val="00528A"/>
        </a:accent2>
        <a:accent3>
          <a:srgbClr val="AAAEB7"/>
        </a:accent3>
        <a:accent4>
          <a:srgbClr val="DADADA"/>
        </a:accent4>
        <a:accent5>
          <a:srgbClr val="AACFF2"/>
        </a:accent5>
        <a:accent6>
          <a:srgbClr val="00497D"/>
        </a:accent6>
        <a:hlink>
          <a:srgbClr val="F58025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C0F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AEDC"/>
        </a:accent6>
        <a:hlink>
          <a:srgbClr val="00A4E8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3A6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3459"/>
        </a:accent6>
        <a:hlink>
          <a:srgbClr val="00C0F3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Default Design">
  <a:themeElements>
    <a:clrScheme name="3_Default Design 15">
      <a:dk1>
        <a:srgbClr val="808284"/>
      </a:dk1>
      <a:lt1>
        <a:srgbClr val="FFFFFF"/>
      </a:lt1>
      <a:dk2>
        <a:srgbClr val="00A4E8"/>
      </a:dk2>
      <a:lt2>
        <a:srgbClr val="E2E3E4"/>
      </a:lt2>
      <a:accent1>
        <a:srgbClr val="8ED8F8"/>
      </a:accent1>
      <a:accent2>
        <a:srgbClr val="003A63"/>
      </a:accent2>
      <a:accent3>
        <a:srgbClr val="FFFFFF"/>
      </a:accent3>
      <a:accent4>
        <a:srgbClr val="6C6E70"/>
      </a:accent4>
      <a:accent5>
        <a:srgbClr val="C6E9FB"/>
      </a:accent5>
      <a:accent6>
        <a:srgbClr val="003459"/>
      </a:accent6>
      <a:hlink>
        <a:srgbClr val="00C0F3"/>
      </a:hlink>
      <a:folHlink>
        <a:srgbClr val="5BCBF5"/>
      </a:folHlink>
    </a:clrScheme>
    <a:fontScheme name="3_Default Design">
      <a:majorFont>
        <a:latin typeface="Expert Sans Regular"/>
        <a:ea typeface=""/>
        <a:cs typeface="Arial"/>
      </a:majorFont>
      <a:minorFont>
        <a:latin typeface="Expert Sans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3">
        <a:dk1>
          <a:srgbClr val="808284"/>
        </a:dk1>
        <a:lt1>
          <a:srgbClr val="FFFFFF"/>
        </a:lt1>
        <a:dk2>
          <a:srgbClr val="003A63"/>
        </a:dk2>
        <a:lt2>
          <a:srgbClr val="8ED8F8"/>
        </a:lt2>
        <a:accent1>
          <a:srgbClr val="00A4E8"/>
        </a:accent1>
        <a:accent2>
          <a:srgbClr val="00528A"/>
        </a:accent2>
        <a:accent3>
          <a:srgbClr val="AAAEB7"/>
        </a:accent3>
        <a:accent4>
          <a:srgbClr val="DADADA"/>
        </a:accent4>
        <a:accent5>
          <a:srgbClr val="AACFF2"/>
        </a:accent5>
        <a:accent6>
          <a:srgbClr val="00497D"/>
        </a:accent6>
        <a:hlink>
          <a:srgbClr val="F58025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4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C0F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AEDC"/>
        </a:accent6>
        <a:hlink>
          <a:srgbClr val="00A4E8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15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3A6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3459"/>
        </a:accent6>
        <a:hlink>
          <a:srgbClr val="00C0F3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td pack">
  <a:themeElements>
    <a:clrScheme name="Std pack 15">
      <a:dk1>
        <a:srgbClr val="808284"/>
      </a:dk1>
      <a:lt1>
        <a:srgbClr val="FFFFFF"/>
      </a:lt1>
      <a:dk2>
        <a:srgbClr val="00A4E8"/>
      </a:dk2>
      <a:lt2>
        <a:srgbClr val="E2E3E4"/>
      </a:lt2>
      <a:accent1>
        <a:srgbClr val="8ED8F8"/>
      </a:accent1>
      <a:accent2>
        <a:srgbClr val="003A63"/>
      </a:accent2>
      <a:accent3>
        <a:srgbClr val="FFFFFF"/>
      </a:accent3>
      <a:accent4>
        <a:srgbClr val="6C6E70"/>
      </a:accent4>
      <a:accent5>
        <a:srgbClr val="C6E9FB"/>
      </a:accent5>
      <a:accent6>
        <a:srgbClr val="003459"/>
      </a:accent6>
      <a:hlink>
        <a:srgbClr val="00C0F3"/>
      </a:hlink>
      <a:folHlink>
        <a:srgbClr val="5BCBF5"/>
      </a:folHlink>
    </a:clrScheme>
    <a:fontScheme name="Std pack">
      <a:majorFont>
        <a:latin typeface="Expert Sans Regular"/>
        <a:ea typeface=""/>
        <a:cs typeface="Arial"/>
      </a:majorFont>
      <a:minorFont>
        <a:latin typeface="Expert Sans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d pac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 pac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 pac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 pac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 pac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 pac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 pac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 pac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 pac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 pac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 pac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 pac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 pack 13">
        <a:dk1>
          <a:srgbClr val="808284"/>
        </a:dk1>
        <a:lt1>
          <a:srgbClr val="FFFFFF"/>
        </a:lt1>
        <a:dk2>
          <a:srgbClr val="003A63"/>
        </a:dk2>
        <a:lt2>
          <a:srgbClr val="8ED8F8"/>
        </a:lt2>
        <a:accent1>
          <a:srgbClr val="00A4E8"/>
        </a:accent1>
        <a:accent2>
          <a:srgbClr val="00528A"/>
        </a:accent2>
        <a:accent3>
          <a:srgbClr val="AAAEB7"/>
        </a:accent3>
        <a:accent4>
          <a:srgbClr val="DADADA"/>
        </a:accent4>
        <a:accent5>
          <a:srgbClr val="AACFF2"/>
        </a:accent5>
        <a:accent6>
          <a:srgbClr val="00497D"/>
        </a:accent6>
        <a:hlink>
          <a:srgbClr val="F58025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 pack 14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C0F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AEDC"/>
        </a:accent6>
        <a:hlink>
          <a:srgbClr val="00A4E8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 pack 15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3A6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3459"/>
        </a:accent6>
        <a:hlink>
          <a:srgbClr val="00C0F3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N039_Barclays_Template_021612_7c">
  <a:themeElements>
    <a:clrScheme name="Barclays_Template">
      <a:dk1>
        <a:srgbClr val="000000"/>
      </a:dk1>
      <a:lt1>
        <a:srgbClr val="FFFFFF"/>
      </a:lt1>
      <a:dk2>
        <a:srgbClr val="969696"/>
      </a:dk2>
      <a:lt2>
        <a:srgbClr val="00AEEF"/>
      </a:lt2>
      <a:accent1>
        <a:srgbClr val="FBDB81"/>
      </a:accent1>
      <a:accent2>
        <a:srgbClr val="EC8A40"/>
      </a:accent2>
      <a:accent3>
        <a:srgbClr val="CB5151"/>
      </a:accent3>
      <a:accent4>
        <a:srgbClr val="00395C"/>
      </a:accent4>
      <a:accent5>
        <a:srgbClr val="406B85"/>
      </a:accent5>
      <a:accent6>
        <a:srgbClr val="809CAE"/>
      </a:accent6>
      <a:hlink>
        <a:srgbClr val="007882"/>
      </a:hlink>
      <a:folHlink>
        <a:srgbClr val="143C78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Slide master 1 1">
        <a:dk1>
          <a:srgbClr val="000000"/>
        </a:dk1>
        <a:lt1>
          <a:srgbClr val="FFFFFF"/>
        </a:lt1>
        <a:dk2>
          <a:srgbClr val="0F90C3"/>
        </a:dk2>
        <a:lt2>
          <a:srgbClr val="00AEEF"/>
        </a:lt2>
        <a:accent1>
          <a:srgbClr val="4D595F"/>
        </a:accent1>
        <a:accent2>
          <a:srgbClr val="00A9B1"/>
        </a:accent2>
        <a:accent3>
          <a:srgbClr val="FFFFFF"/>
        </a:accent3>
        <a:accent4>
          <a:srgbClr val="000000"/>
        </a:accent4>
        <a:accent5>
          <a:srgbClr val="B2B5B6"/>
        </a:accent5>
        <a:accent6>
          <a:srgbClr val="0099A0"/>
        </a:accent6>
        <a:hlink>
          <a:srgbClr val="007882"/>
        </a:hlink>
        <a:folHlink>
          <a:srgbClr val="143C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LAN039_Barclays_Template_021612_7c">
  <a:themeElements>
    <a:clrScheme name="Barclays_Template">
      <a:dk1>
        <a:srgbClr val="000000"/>
      </a:dk1>
      <a:lt1>
        <a:srgbClr val="FFFFFF"/>
      </a:lt1>
      <a:dk2>
        <a:srgbClr val="969696"/>
      </a:dk2>
      <a:lt2>
        <a:srgbClr val="00AEEF"/>
      </a:lt2>
      <a:accent1>
        <a:srgbClr val="FBDB81"/>
      </a:accent1>
      <a:accent2>
        <a:srgbClr val="EC8A40"/>
      </a:accent2>
      <a:accent3>
        <a:srgbClr val="CB5151"/>
      </a:accent3>
      <a:accent4>
        <a:srgbClr val="00395C"/>
      </a:accent4>
      <a:accent5>
        <a:srgbClr val="406B85"/>
      </a:accent5>
      <a:accent6>
        <a:srgbClr val="809CAE"/>
      </a:accent6>
      <a:hlink>
        <a:srgbClr val="007882"/>
      </a:hlink>
      <a:folHlink>
        <a:srgbClr val="143C78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Slide master 1 1">
        <a:dk1>
          <a:srgbClr val="000000"/>
        </a:dk1>
        <a:lt1>
          <a:srgbClr val="FFFFFF"/>
        </a:lt1>
        <a:dk2>
          <a:srgbClr val="0F90C3"/>
        </a:dk2>
        <a:lt2>
          <a:srgbClr val="00AEEF"/>
        </a:lt2>
        <a:accent1>
          <a:srgbClr val="4D595F"/>
        </a:accent1>
        <a:accent2>
          <a:srgbClr val="00A9B1"/>
        </a:accent2>
        <a:accent3>
          <a:srgbClr val="FFFFFF"/>
        </a:accent3>
        <a:accent4>
          <a:srgbClr val="000000"/>
        </a:accent4>
        <a:accent5>
          <a:srgbClr val="B2B5B6"/>
        </a:accent5>
        <a:accent6>
          <a:srgbClr val="0099A0"/>
        </a:accent6>
        <a:hlink>
          <a:srgbClr val="007882"/>
        </a:hlink>
        <a:folHlink>
          <a:srgbClr val="143C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Divider_slide">
  <a:themeElements>
    <a:clrScheme name="Divider_slide 1">
      <a:dk1>
        <a:srgbClr val="000000"/>
      </a:dk1>
      <a:lt1>
        <a:srgbClr val="FFFFFF"/>
      </a:lt1>
      <a:dk2>
        <a:srgbClr val="969696"/>
      </a:dk2>
      <a:lt2>
        <a:srgbClr val="00AEEF"/>
      </a:lt2>
      <a:accent1>
        <a:srgbClr val="FBDB81"/>
      </a:accent1>
      <a:accent2>
        <a:srgbClr val="EC8A40"/>
      </a:accent2>
      <a:accent3>
        <a:srgbClr val="FFFFFF"/>
      </a:accent3>
      <a:accent4>
        <a:srgbClr val="000000"/>
      </a:accent4>
      <a:accent5>
        <a:srgbClr val="FDEAC1"/>
      </a:accent5>
      <a:accent6>
        <a:srgbClr val="D67D39"/>
      </a:accent6>
      <a:hlink>
        <a:srgbClr val="CB5151"/>
      </a:hlink>
      <a:folHlink>
        <a:srgbClr val="00395C"/>
      </a:folHlink>
    </a:clrScheme>
    <a:fontScheme name="Divider_slide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ivider_slide 1">
        <a:dk1>
          <a:srgbClr val="000000"/>
        </a:dk1>
        <a:lt1>
          <a:srgbClr val="FFFFFF"/>
        </a:lt1>
        <a:dk2>
          <a:srgbClr val="969696"/>
        </a:dk2>
        <a:lt2>
          <a:srgbClr val="00AEEF"/>
        </a:lt2>
        <a:accent1>
          <a:srgbClr val="FBDB81"/>
        </a:accent1>
        <a:accent2>
          <a:srgbClr val="EC8A40"/>
        </a:accent2>
        <a:accent3>
          <a:srgbClr val="FFFFFF"/>
        </a:accent3>
        <a:accent4>
          <a:srgbClr val="000000"/>
        </a:accent4>
        <a:accent5>
          <a:srgbClr val="FDEAC1"/>
        </a:accent5>
        <a:accent6>
          <a:srgbClr val="D67D39"/>
        </a:accent6>
        <a:hlink>
          <a:srgbClr val="CB5151"/>
        </a:hlink>
        <a:folHlink>
          <a:srgbClr val="00395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1_Default Design">
  <a:themeElements>
    <a:clrScheme name="21_Default Design 15">
      <a:dk1>
        <a:srgbClr val="808284"/>
      </a:dk1>
      <a:lt1>
        <a:srgbClr val="FFFFFF"/>
      </a:lt1>
      <a:dk2>
        <a:srgbClr val="00A4E8"/>
      </a:dk2>
      <a:lt2>
        <a:srgbClr val="E2E3E4"/>
      </a:lt2>
      <a:accent1>
        <a:srgbClr val="8ED8F8"/>
      </a:accent1>
      <a:accent2>
        <a:srgbClr val="003A63"/>
      </a:accent2>
      <a:accent3>
        <a:srgbClr val="FFFFFF"/>
      </a:accent3>
      <a:accent4>
        <a:srgbClr val="6C6E70"/>
      </a:accent4>
      <a:accent5>
        <a:srgbClr val="C6E9FB"/>
      </a:accent5>
      <a:accent6>
        <a:srgbClr val="003459"/>
      </a:accent6>
      <a:hlink>
        <a:srgbClr val="00C0F3"/>
      </a:hlink>
      <a:folHlink>
        <a:srgbClr val="5BCBF5"/>
      </a:folHlink>
    </a:clrScheme>
    <a:fontScheme name="21_Default Design">
      <a:majorFont>
        <a:latin typeface="Expert Sans Regular"/>
        <a:ea typeface=""/>
        <a:cs typeface="Arial"/>
      </a:majorFont>
      <a:minorFont>
        <a:latin typeface="Expert Sans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3">
        <a:dk1>
          <a:srgbClr val="808284"/>
        </a:dk1>
        <a:lt1>
          <a:srgbClr val="FFFFFF"/>
        </a:lt1>
        <a:dk2>
          <a:srgbClr val="003A63"/>
        </a:dk2>
        <a:lt2>
          <a:srgbClr val="8ED8F8"/>
        </a:lt2>
        <a:accent1>
          <a:srgbClr val="00A4E8"/>
        </a:accent1>
        <a:accent2>
          <a:srgbClr val="00528A"/>
        </a:accent2>
        <a:accent3>
          <a:srgbClr val="AAAEB7"/>
        </a:accent3>
        <a:accent4>
          <a:srgbClr val="DADADA"/>
        </a:accent4>
        <a:accent5>
          <a:srgbClr val="AACFF2"/>
        </a:accent5>
        <a:accent6>
          <a:srgbClr val="00497D"/>
        </a:accent6>
        <a:hlink>
          <a:srgbClr val="F58025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1_Default Design 14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C0F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AEDC"/>
        </a:accent6>
        <a:hlink>
          <a:srgbClr val="00A4E8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1_Default Design 15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3A6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3459"/>
        </a:accent6>
        <a:hlink>
          <a:srgbClr val="00C0F3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LAN041_Barclays_Template_021612_1a">
  <a:themeElements>
    <a:clrScheme name="LAN041_Barclays_Template_021612_1a 1">
      <a:dk1>
        <a:srgbClr val="000000"/>
      </a:dk1>
      <a:lt1>
        <a:srgbClr val="FFFFFF"/>
      </a:lt1>
      <a:dk2>
        <a:srgbClr val="969696"/>
      </a:dk2>
      <a:lt2>
        <a:srgbClr val="00AEEF"/>
      </a:lt2>
      <a:accent1>
        <a:srgbClr val="FBDB81"/>
      </a:accent1>
      <a:accent2>
        <a:srgbClr val="EC8A40"/>
      </a:accent2>
      <a:accent3>
        <a:srgbClr val="FFFFFF"/>
      </a:accent3>
      <a:accent4>
        <a:srgbClr val="000000"/>
      </a:accent4>
      <a:accent5>
        <a:srgbClr val="FDEAC1"/>
      </a:accent5>
      <a:accent6>
        <a:srgbClr val="D67D39"/>
      </a:accent6>
      <a:hlink>
        <a:srgbClr val="CB5151"/>
      </a:hlink>
      <a:folHlink>
        <a:srgbClr val="00395C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LAN041_Barclays_Template_021612_1a 1">
        <a:dk1>
          <a:srgbClr val="000000"/>
        </a:dk1>
        <a:lt1>
          <a:srgbClr val="FFFFFF"/>
        </a:lt1>
        <a:dk2>
          <a:srgbClr val="969696"/>
        </a:dk2>
        <a:lt2>
          <a:srgbClr val="00AEEF"/>
        </a:lt2>
        <a:accent1>
          <a:srgbClr val="FBDB81"/>
        </a:accent1>
        <a:accent2>
          <a:srgbClr val="EC8A40"/>
        </a:accent2>
        <a:accent3>
          <a:srgbClr val="FFFFFF"/>
        </a:accent3>
        <a:accent4>
          <a:srgbClr val="000000"/>
        </a:accent4>
        <a:accent5>
          <a:srgbClr val="FDEAC1"/>
        </a:accent5>
        <a:accent6>
          <a:srgbClr val="D67D39"/>
        </a:accent6>
        <a:hlink>
          <a:srgbClr val="CB5151"/>
        </a:hlink>
        <a:folHlink>
          <a:srgbClr val="00395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Barcorp resource review 1st Dec V0 5">
  <a:themeElements>
    <a:clrScheme name="1_Default Design 15">
      <a:dk1>
        <a:srgbClr val="808284"/>
      </a:dk1>
      <a:lt1>
        <a:srgbClr val="FFFFFF"/>
      </a:lt1>
      <a:dk2>
        <a:srgbClr val="00A4E8"/>
      </a:dk2>
      <a:lt2>
        <a:srgbClr val="E2E3E4"/>
      </a:lt2>
      <a:accent1>
        <a:srgbClr val="8ED8F8"/>
      </a:accent1>
      <a:accent2>
        <a:srgbClr val="003A63"/>
      </a:accent2>
      <a:accent3>
        <a:srgbClr val="FFFFFF"/>
      </a:accent3>
      <a:accent4>
        <a:srgbClr val="6C6E70"/>
      </a:accent4>
      <a:accent5>
        <a:srgbClr val="C6E9FB"/>
      </a:accent5>
      <a:accent6>
        <a:srgbClr val="003459"/>
      </a:accent6>
      <a:hlink>
        <a:srgbClr val="00C0F3"/>
      </a:hlink>
      <a:folHlink>
        <a:srgbClr val="5BCBF5"/>
      </a:folHlink>
    </a:clrScheme>
    <a:fontScheme name="1_Default Design">
      <a:majorFont>
        <a:latin typeface="Expert Sans Regular"/>
        <a:ea typeface=""/>
        <a:cs typeface="Arial"/>
      </a:majorFont>
      <a:minorFont>
        <a:latin typeface="Expert Sans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xpert Sans Regular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xpert Sans Regular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808284"/>
        </a:dk1>
        <a:lt1>
          <a:srgbClr val="FFFFFF"/>
        </a:lt1>
        <a:dk2>
          <a:srgbClr val="003A63"/>
        </a:dk2>
        <a:lt2>
          <a:srgbClr val="8ED8F8"/>
        </a:lt2>
        <a:accent1>
          <a:srgbClr val="00A4E8"/>
        </a:accent1>
        <a:accent2>
          <a:srgbClr val="00528A"/>
        </a:accent2>
        <a:accent3>
          <a:srgbClr val="AAAEB7"/>
        </a:accent3>
        <a:accent4>
          <a:srgbClr val="DADADA"/>
        </a:accent4>
        <a:accent5>
          <a:srgbClr val="AACFF2"/>
        </a:accent5>
        <a:accent6>
          <a:srgbClr val="00497D"/>
        </a:accent6>
        <a:hlink>
          <a:srgbClr val="F58025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C0F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AEDC"/>
        </a:accent6>
        <a:hlink>
          <a:srgbClr val="00A4E8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808284"/>
        </a:dk1>
        <a:lt1>
          <a:srgbClr val="FFFFFF"/>
        </a:lt1>
        <a:dk2>
          <a:srgbClr val="00A4E8"/>
        </a:dk2>
        <a:lt2>
          <a:srgbClr val="E2E3E4"/>
        </a:lt2>
        <a:accent1>
          <a:srgbClr val="8ED8F8"/>
        </a:accent1>
        <a:accent2>
          <a:srgbClr val="003A63"/>
        </a:accent2>
        <a:accent3>
          <a:srgbClr val="FFFFFF"/>
        </a:accent3>
        <a:accent4>
          <a:srgbClr val="6C6E70"/>
        </a:accent4>
        <a:accent5>
          <a:srgbClr val="C6E9FB"/>
        </a:accent5>
        <a:accent6>
          <a:srgbClr val="003459"/>
        </a:accent6>
        <a:hlink>
          <a:srgbClr val="00C0F3"/>
        </a:hlink>
        <a:folHlink>
          <a:srgbClr val="5BCBF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2617</TotalTime>
  <Words>37</Words>
  <Application>Microsoft Office PowerPoint</Application>
  <PresentationFormat>A4 Paper (210x297 mm)</PresentationFormat>
  <Paragraphs>19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24" baseType="lpstr">
      <vt:lpstr>ＭＳ Ｐゴシック</vt:lpstr>
      <vt:lpstr>ＭＳ Ｐゴシック</vt:lpstr>
      <vt:lpstr>Arial</vt:lpstr>
      <vt:lpstr>Calibri</vt:lpstr>
      <vt:lpstr>Expert Humanist Black</vt:lpstr>
      <vt:lpstr>Expert Sans Regular</vt:lpstr>
      <vt:lpstr>Wingdings</vt:lpstr>
      <vt:lpstr>Barcorp resource review 1st Dec V0 5</vt:lpstr>
      <vt:lpstr>3_Default Design</vt:lpstr>
      <vt:lpstr>Std pack</vt:lpstr>
      <vt:lpstr>LAN039_Barclays_Template_021612_7c</vt:lpstr>
      <vt:lpstr>1_LAN039_Barclays_Template_021612_7c</vt:lpstr>
      <vt:lpstr>3_Divider_slide</vt:lpstr>
      <vt:lpstr>21_Default Design</vt:lpstr>
      <vt:lpstr>LAN041_Barclays_Template_021612_1a</vt:lpstr>
      <vt:lpstr>1_Barcorp resource review 1st Dec V0 5</vt:lpstr>
      <vt:lpstr>22_Default Design</vt:lpstr>
      <vt:lpstr>2_LAN039_Barclays_Template_021612_7c</vt:lpstr>
      <vt:lpstr>3_LAN039_Barclays_Template_021612_7c</vt:lpstr>
      <vt:lpstr>7_LAN039_Barclays_Template_021612_7c</vt:lpstr>
      <vt:lpstr>2_Barcorp resource review 1st Dec V0 5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Technology Infrastructure &amp; Services  Resourcing of Barcorp projects</dc:title>
  <dc:creator>Austen, Paul : RBB COO</dc:creator>
  <cp:lastModifiedBy>Kumaresan</cp:lastModifiedBy>
  <cp:revision>1090</cp:revision>
  <cp:lastPrinted>2015-06-17T11:17:04Z</cp:lastPrinted>
  <dcterms:modified xsi:type="dcterms:W3CDTF">2015-09-05T13:1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